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ti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3"/>
  </p:notesMasterIdLst>
  <p:sldIdLst>
    <p:sldId id="256" r:id="rId2"/>
    <p:sldId id="294" r:id="rId3"/>
    <p:sldId id="289" r:id="rId4"/>
    <p:sldId id="258" r:id="rId5"/>
    <p:sldId id="257" r:id="rId6"/>
    <p:sldId id="259" r:id="rId7"/>
    <p:sldId id="261" r:id="rId8"/>
    <p:sldId id="262" r:id="rId9"/>
    <p:sldId id="263" r:id="rId10"/>
    <p:sldId id="260" r:id="rId11"/>
    <p:sldId id="265" r:id="rId12"/>
    <p:sldId id="264" r:id="rId13"/>
    <p:sldId id="267" r:id="rId14"/>
    <p:sldId id="268" r:id="rId15"/>
    <p:sldId id="290" r:id="rId16"/>
    <p:sldId id="266" r:id="rId17"/>
    <p:sldId id="269" r:id="rId18"/>
    <p:sldId id="270" r:id="rId19"/>
    <p:sldId id="271" r:id="rId20"/>
    <p:sldId id="272" r:id="rId21"/>
    <p:sldId id="278" r:id="rId22"/>
    <p:sldId id="277" r:id="rId23"/>
    <p:sldId id="279" r:id="rId24"/>
    <p:sldId id="280" r:id="rId25"/>
    <p:sldId id="281" r:id="rId26"/>
    <p:sldId id="285" r:id="rId27"/>
    <p:sldId id="287" r:id="rId28"/>
    <p:sldId id="282" r:id="rId29"/>
    <p:sldId id="288" r:id="rId30"/>
    <p:sldId id="291" r:id="rId31"/>
    <p:sldId id="293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41"/>
    <p:restoredTop sz="93225"/>
  </p:normalViewPr>
  <p:slideViewPr>
    <p:cSldViewPr snapToGrid="0" snapToObjects="1">
      <p:cViewPr varScale="1">
        <p:scale>
          <a:sx n="78" d="100"/>
          <a:sy n="78" d="100"/>
        </p:scale>
        <p:origin x="168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6D5519-F85B-A945-894A-094AFE4C0300}" type="datetimeFigureOut">
              <a:rPr lang="es-ES_tradnl" smtClean="0"/>
              <a:t>27/6/19</a:t>
            </a:fld>
            <a:endParaRPr lang="es-ES_trad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_trad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49156B-5102-3248-A276-F854FF07D435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3862395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4F79A998-8B6D-437F-89E8-E2870771706C}" type="slidenum">
              <a:rPr lang="de-DE"/>
              <a:pPr/>
              <a:t>9</a:t>
            </a:fld>
            <a:endParaRPr lang="de-DE"/>
          </a:p>
        </p:txBody>
      </p:sp>
      <p:sp>
        <p:nvSpPr>
          <p:cNvPr id="4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UK, US, </a:t>
            </a:r>
            <a:r>
              <a:rPr lang="hu-HU" dirty="0" err="1"/>
              <a:t>Canada</a:t>
            </a:r>
            <a:r>
              <a:rPr lang="hu-HU" dirty="0"/>
              <a:t>, Brazil, France, </a:t>
            </a:r>
            <a:r>
              <a:rPr lang="hu-HU" dirty="0" err="1"/>
              <a:t>Ireland</a:t>
            </a:r>
            <a:r>
              <a:rPr lang="hu-HU" dirty="0"/>
              <a:t>, Spain, </a:t>
            </a:r>
            <a:r>
              <a:rPr lang="hu-HU" dirty="0" err="1"/>
              <a:t>Germany</a:t>
            </a:r>
            <a:r>
              <a:rPr lang="hu-HU" dirty="0"/>
              <a:t>, </a:t>
            </a:r>
            <a:r>
              <a:rPr lang="hu-HU" dirty="0" err="1"/>
              <a:t>Austria</a:t>
            </a:r>
            <a:r>
              <a:rPr lang="hu-HU" dirty="0"/>
              <a:t>, </a:t>
            </a:r>
            <a:r>
              <a:rPr lang="hu-HU" dirty="0" err="1"/>
              <a:t>Czech</a:t>
            </a:r>
            <a:r>
              <a:rPr lang="hu-HU" dirty="0"/>
              <a:t> </a:t>
            </a:r>
            <a:r>
              <a:rPr lang="hu-HU" dirty="0" err="1"/>
              <a:t>Republic</a:t>
            </a:r>
            <a:r>
              <a:rPr lang="hu-HU" dirty="0"/>
              <a:t>, Hungary, </a:t>
            </a:r>
            <a:r>
              <a:rPr lang="hu-HU" dirty="0" err="1"/>
              <a:t>Italy</a:t>
            </a:r>
            <a:r>
              <a:rPr lang="hu-HU" dirty="0"/>
              <a:t>, ECHR, ECJ, Israel, South </a:t>
            </a:r>
            <a:r>
              <a:rPr lang="hu-HU" dirty="0" err="1"/>
              <a:t>Africa</a:t>
            </a:r>
            <a:r>
              <a:rPr lang="hu-HU" dirty="0"/>
              <a:t>, </a:t>
            </a:r>
            <a:r>
              <a:rPr lang="hu-HU" dirty="0" err="1"/>
              <a:t>Taiwan</a:t>
            </a:r>
            <a:r>
              <a:rPr lang="hu-HU" dirty="0"/>
              <a:t>, </a:t>
            </a:r>
            <a:r>
              <a:rPr lang="hu-HU" dirty="0" err="1"/>
              <a:t>Australia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9959653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3/23 the State was the complainant and won the case</a:t>
            </a:r>
          </a:p>
          <a:p>
            <a:r>
              <a:rPr lang="es-ES_tradnl" dirty="0"/>
              <a:t>Procuraduría, Gobierno Provincial, Ministerios, </a:t>
            </a:r>
            <a:r>
              <a:rPr lang="es-ES" dirty="0"/>
              <a:t>la Secretaría Nacional de Planificación y Desarrollo, la Superintendencia de Compañías, la Aduana, el Servicio de Rentas Internas o el Banco de Desarrollo del Ecuador</a:t>
            </a:r>
            <a:r>
              <a:rPr lang="en-US" dirty="0"/>
              <a:t> </a:t>
            </a:r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49156B-5102-3248-A276-F854FF07D435}" type="slidenum">
              <a:rPr lang="es-ES_tradnl" smtClean="0"/>
              <a:t>27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562113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2C541A-BBE9-514B-AF97-A119D647B8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1338B1D-BB59-DE43-AC28-063E478B8E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ES_trad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AE7D34-5213-4B45-8701-1B7732E2AF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1E0F0-D8BD-7742-87AB-FAA4B4D9AEA7}" type="datetimeFigureOut">
              <a:rPr lang="es-ES_tradnl" smtClean="0"/>
              <a:t>27/6/19</a:t>
            </a:fld>
            <a:endParaRPr lang="es-ES_trad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EF81F9-FFD3-FC4E-9199-DC7E832B4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DAE8B8-B39E-5C43-9614-1553B4651D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BD03D-4676-4C44-9ACB-238EABE0B63E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1091090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78E993-23A0-3547-A08E-9544455D6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90DA6A-ACA8-9E41-8105-FE36DFEB05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38A93B-B8A0-0645-B2B5-DA4A7375D6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1E0F0-D8BD-7742-87AB-FAA4B4D9AEA7}" type="datetimeFigureOut">
              <a:rPr lang="es-ES_tradnl" smtClean="0"/>
              <a:t>27/6/19</a:t>
            </a:fld>
            <a:endParaRPr lang="es-ES_trad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DF7958-37C6-5748-9B61-E0E51CB36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5ED6E3-0091-A747-826D-0152A12A40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BD03D-4676-4C44-9ACB-238EABE0B63E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1349887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00DDA6D-2E36-6941-A656-CDAC6B4B05D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1825CE8-0698-DB49-9599-4A56C5DBC11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91868E-51D0-4C48-AC81-82F9D892D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1E0F0-D8BD-7742-87AB-FAA4B4D9AEA7}" type="datetimeFigureOut">
              <a:rPr lang="es-ES_tradnl" smtClean="0"/>
              <a:t>27/6/19</a:t>
            </a:fld>
            <a:endParaRPr lang="es-ES_trad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2BA4CF-44E9-C14A-A31D-051AD63DB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8A4F1C-CD2F-E245-8866-78B2524BFF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BD03D-4676-4C44-9ACB-238EABE0B63E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2487281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E0C5E5-5F52-6941-B816-2C9F485FB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82793F-22D5-F146-9C81-B7ABE04815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62B10A-1474-B849-A0B6-94E24C4EFC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1E0F0-D8BD-7742-87AB-FAA4B4D9AEA7}" type="datetimeFigureOut">
              <a:rPr lang="es-ES_tradnl" smtClean="0"/>
              <a:t>27/6/19</a:t>
            </a:fld>
            <a:endParaRPr lang="es-ES_trad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1B0DC6-0049-3142-8746-602D244D5E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DFB08B-5E8D-1040-86A7-B9DBAAD609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BD03D-4676-4C44-9ACB-238EABE0B63E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5045750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9D3BBC-2CB8-7848-87CC-23390475D8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2D40EF-9D41-4F4E-ADA6-CCAD8B5046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11B0C3-B695-4B40-B4B3-216D934DBD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1E0F0-D8BD-7742-87AB-FAA4B4D9AEA7}" type="datetimeFigureOut">
              <a:rPr lang="es-ES_tradnl" smtClean="0"/>
              <a:t>27/6/19</a:t>
            </a:fld>
            <a:endParaRPr lang="es-ES_trad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A93073-E27E-AC4C-BF79-5CA52F78D1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A287EF-FE4F-DD4F-80D7-FD8DAD6B8F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BD03D-4676-4C44-9ACB-238EABE0B63E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9164521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E198D3-9B5D-D441-A869-83EBA9B6A4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65BE39-1C9E-5D47-BF35-534349167A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F84E244-2EA6-F745-9D5A-73DFB1DA3C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812188-68E7-0441-AD20-F98B8BDEF3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1E0F0-D8BD-7742-87AB-FAA4B4D9AEA7}" type="datetimeFigureOut">
              <a:rPr lang="es-ES_tradnl" smtClean="0"/>
              <a:t>27/6/19</a:t>
            </a:fld>
            <a:endParaRPr lang="es-ES_trad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734E8E-7F80-4048-82FF-A6584FA951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412AE6-E020-EA44-BA95-FC5F8EA158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BD03D-4676-4C44-9ACB-238EABE0B63E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6634254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D13B23-200A-C941-AD42-258297CA8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0EE9ED2-9095-8A41-99F6-1ACAFC7DBF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57FA2C-FCBD-0D45-A464-8B5486E6BF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0423E8-D58B-FC46-A5D8-8111E68AF5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46A4748-42F4-724F-AEDC-968D9499F51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791A5C9-467E-F640-B57E-196CE7AC06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1E0F0-D8BD-7742-87AB-FAA4B4D9AEA7}" type="datetimeFigureOut">
              <a:rPr lang="es-ES_tradnl" smtClean="0"/>
              <a:t>27/6/19</a:t>
            </a:fld>
            <a:endParaRPr lang="es-ES_trad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717DE26-BDF0-074E-B3B0-1BB7E2021A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279698A-BF40-224A-8ADC-533B23BA69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BD03D-4676-4C44-9ACB-238EABE0B63E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1146084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2188DA-3B4D-B54C-8A7E-714749419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0A6FA2-E092-2F40-88CB-0A6AE774C1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1E0F0-D8BD-7742-87AB-FAA4B4D9AEA7}" type="datetimeFigureOut">
              <a:rPr lang="es-ES_tradnl" smtClean="0"/>
              <a:t>27/6/19</a:t>
            </a:fld>
            <a:endParaRPr lang="es-ES_trad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35E078-B79C-E441-BB25-F31BAA281B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2BB776-D65E-AD4C-8977-0DED801C40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BD03D-4676-4C44-9ACB-238EABE0B63E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7661251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B793771-FA7D-7044-B331-6A50EF7159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1E0F0-D8BD-7742-87AB-FAA4B4D9AEA7}" type="datetimeFigureOut">
              <a:rPr lang="es-ES_tradnl" smtClean="0"/>
              <a:t>27/6/19</a:t>
            </a:fld>
            <a:endParaRPr lang="es-ES_trad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2578F6-DBE4-1D48-B8F0-6A94007BA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7D546F-42C9-EB4B-8FF5-E2E1A11A4A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BD03D-4676-4C44-9ACB-238EABE0B63E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0701489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7C07AB-B8FB-654C-832D-AA9109C92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7A44FB-ADFA-CF45-A892-599B0A7F2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C459EBD-84E9-614D-9C4A-80D14DA0C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0873F45-104F-4F45-8A1C-880F46D40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1E0F0-D8BD-7742-87AB-FAA4B4D9AEA7}" type="datetimeFigureOut">
              <a:rPr lang="es-ES_tradnl" smtClean="0"/>
              <a:t>27/6/19</a:t>
            </a:fld>
            <a:endParaRPr lang="es-ES_trad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04D6D0-BA78-9C4F-8443-20A7B0FAD4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3D133F-8D7F-4F47-85D7-BB94EF80DA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BD03D-4676-4C44-9ACB-238EABE0B63E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6416255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0E40F-2C32-5344-B549-56CCC042C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33D3653-E8D3-5C42-962D-1331970E5C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_trad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91769D-D396-584D-8359-7C3D1BFD7C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FBE001-BE89-8340-9FC8-0DA7F2CF59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81E0F0-D8BD-7742-87AB-FAA4B4D9AEA7}" type="datetimeFigureOut">
              <a:rPr lang="es-ES_tradnl" smtClean="0"/>
              <a:t>27/6/19</a:t>
            </a:fld>
            <a:endParaRPr lang="es-ES_trad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DB1784-95AC-F64E-8857-A01F5FC402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23101A-FE7E-0B4E-91D9-E4BF8C3E1C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BD03D-4676-4C44-9ACB-238EABE0B63E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390923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3DE5DE6-B6AE-B14F-9B00-0478ECCFAD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ES_tradnl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10C965-4E46-7D45-8C3E-C7B9C43885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ES_tradnl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175B7A-E33D-104A-A804-B3F06DEB57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81E0F0-D8BD-7742-87AB-FAA4B4D9AEA7}" type="datetimeFigureOut">
              <a:rPr lang="es-ES_tradnl" smtClean="0"/>
              <a:t>27/6/19</a:t>
            </a:fld>
            <a:endParaRPr lang="es-ES_trad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4BF5CA-0F04-034F-826C-9728366C4F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8A0FC8-B99D-7842-9F85-CDB4B98C43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8BD03D-4676-4C44-9ACB-238EABE0B63E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587626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tif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tiff"/><Relationship Id="rId2" Type="http://schemas.openxmlformats.org/officeDocument/2006/relationships/hyperlink" Target="mailto:jfrohlich@usfq.edu.ec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tif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381" Type="http://schemas.openxmlformats.org/officeDocument/2006/relationships/tags" Target="../tags/tag381.xml"/><Relationship Id="rId241" Type="http://schemas.openxmlformats.org/officeDocument/2006/relationships/tags" Target="../tags/tag241.xml"/><Relationship Id="rId36" Type="http://schemas.openxmlformats.org/officeDocument/2006/relationships/tags" Target="../tags/tag36.xml"/><Relationship Id="rId283" Type="http://schemas.openxmlformats.org/officeDocument/2006/relationships/tags" Target="../tags/tag283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101" Type="http://schemas.openxmlformats.org/officeDocument/2006/relationships/tags" Target="../tags/tag101.xml"/><Relationship Id="rId143" Type="http://schemas.openxmlformats.org/officeDocument/2006/relationships/tags" Target="../tags/tag143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7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1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tags" Target="../tags/tag369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15" Type="http://schemas.openxmlformats.org/officeDocument/2006/relationships/tags" Target="../tags/tag15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318" Type="http://schemas.openxmlformats.org/officeDocument/2006/relationships/tags" Target="../tags/tag318.xml"/><Relationship Id="rId99" Type="http://schemas.openxmlformats.org/officeDocument/2006/relationships/tags" Target="../tags/tag99.xml"/><Relationship Id="rId122" Type="http://schemas.openxmlformats.org/officeDocument/2006/relationships/tags" Target="../tags/tag122.xml"/><Relationship Id="rId164" Type="http://schemas.openxmlformats.org/officeDocument/2006/relationships/tags" Target="../tags/tag164.xml"/><Relationship Id="rId371" Type="http://schemas.openxmlformats.org/officeDocument/2006/relationships/tags" Target="../tags/tag3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5D98C-3392-9649-AFAE-9155E3FFCEF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B7E24F-C15F-D146-89BD-97AE9F184B8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s-ES_tradnl" sz="3200" b="1" dirty="0">
                <a:solidFill>
                  <a:schemeClr val="accent1">
                    <a:lumMod val="50000"/>
                  </a:schemeClr>
                </a:solidFill>
              </a:rPr>
              <a:t>Razonamiento Constitucional en América Latina</a:t>
            </a:r>
          </a:p>
          <a:p>
            <a:r>
              <a:rPr lang="es-ES_tradnl" sz="3200" dirty="0">
                <a:solidFill>
                  <a:schemeClr val="accent1">
                    <a:lumMod val="50000"/>
                  </a:schemeClr>
                </a:solidFill>
              </a:rPr>
              <a:t>Johanna </a:t>
            </a:r>
            <a:r>
              <a:rPr lang="es-ES_tradnl" sz="3200" dirty="0" err="1">
                <a:solidFill>
                  <a:schemeClr val="accent1">
                    <a:lumMod val="50000"/>
                  </a:schemeClr>
                </a:solidFill>
              </a:rPr>
              <a:t>Fröhlich</a:t>
            </a:r>
            <a:endParaRPr lang="es-ES_tradnl" sz="3200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s-ES_tradnl" sz="2800" dirty="0">
                <a:solidFill>
                  <a:schemeClr val="accent1">
                    <a:lumMod val="50000"/>
                  </a:schemeClr>
                </a:solidFill>
              </a:rPr>
              <a:t>Universidad San Francisco de Quito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3C8BAD5-7CFF-3B4E-9008-993355870FE9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881808" y="1122363"/>
            <a:ext cx="3737114" cy="23876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7ED56C-3CEA-6B4B-99A7-B298711A2B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7461" y="1300163"/>
            <a:ext cx="2032000" cy="20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6326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FA700B1-8A80-BE48-A512-33764C0047A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5803" y="0"/>
            <a:ext cx="512039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5271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E12C0E-60E8-3541-B4F6-1AD93E4803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Los países en que analizamos el razonamiento constitucional de las </a:t>
            </a:r>
            <a:r>
              <a:rPr lang="es-ES_tradnl" dirty="0" err="1"/>
              <a:t>CCs</a:t>
            </a:r>
            <a:r>
              <a:rPr lang="es-ES_tradnl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16C47F-ED29-674D-B05C-81B22938FAC3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s-ES_tradnl" dirty="0"/>
              <a:t>Ecuador</a:t>
            </a:r>
          </a:p>
          <a:p>
            <a:r>
              <a:rPr lang="es-ES_tradnl" dirty="0"/>
              <a:t>Chile</a:t>
            </a:r>
          </a:p>
          <a:p>
            <a:r>
              <a:rPr lang="es-ES_tradnl" dirty="0"/>
              <a:t>Colombia</a:t>
            </a:r>
          </a:p>
          <a:p>
            <a:r>
              <a:rPr lang="es-ES_tradnl" dirty="0" err="1"/>
              <a:t>Peru</a:t>
            </a:r>
            <a:endParaRPr lang="es-ES_tradnl" dirty="0"/>
          </a:p>
          <a:p>
            <a:r>
              <a:rPr lang="es-ES_tradnl" dirty="0"/>
              <a:t>México</a:t>
            </a:r>
          </a:p>
          <a:p>
            <a:r>
              <a:rPr lang="es-ES_tradnl" dirty="0"/>
              <a:t>Bolivia</a:t>
            </a:r>
          </a:p>
          <a:p>
            <a:r>
              <a:rPr lang="es-ES_tradnl" dirty="0"/>
              <a:t>Venezuela</a:t>
            </a:r>
          </a:p>
          <a:p>
            <a:r>
              <a:rPr lang="es-ES_tradnl" dirty="0"/>
              <a:t>Argentina</a:t>
            </a:r>
          </a:p>
          <a:p>
            <a:r>
              <a:rPr lang="es-ES_tradnl" dirty="0"/>
              <a:t>Uruguay</a:t>
            </a:r>
          </a:p>
          <a:p>
            <a:r>
              <a:rPr lang="es-ES_tradnl" dirty="0" err="1"/>
              <a:t>Brazil</a:t>
            </a:r>
            <a:endParaRPr lang="es-ES_tradnl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7C6B5A-D762-D645-8098-1F39FD714DC0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s-ES_tradnl" dirty="0"/>
              <a:t>Costa Rica</a:t>
            </a:r>
          </a:p>
          <a:p>
            <a:r>
              <a:rPr lang="es-ES_tradnl" dirty="0"/>
              <a:t>El Salvador</a:t>
            </a:r>
          </a:p>
          <a:p>
            <a:r>
              <a:rPr lang="es-ES_tradnl" dirty="0"/>
              <a:t>Guatemala</a:t>
            </a:r>
          </a:p>
          <a:p>
            <a:r>
              <a:rPr lang="es-ES_tradnl" dirty="0"/>
              <a:t>Corte IDH</a:t>
            </a:r>
          </a:p>
          <a:p>
            <a:r>
              <a:rPr lang="es-ES_tradnl" dirty="0"/>
              <a:t>Commonwealth </a:t>
            </a:r>
            <a:r>
              <a:rPr lang="es-ES_tradnl" dirty="0" err="1"/>
              <a:t>Caribbean</a:t>
            </a:r>
            <a:r>
              <a:rPr lang="es-ES_tradnl" dirty="0"/>
              <a:t>: </a:t>
            </a:r>
          </a:p>
          <a:p>
            <a:pPr lvl="1"/>
            <a:r>
              <a:rPr lang="es-ES_tradnl" dirty="0"/>
              <a:t>Judicial </a:t>
            </a:r>
            <a:r>
              <a:rPr lang="es-ES_tradnl" dirty="0" err="1"/>
              <a:t>Committee</a:t>
            </a:r>
            <a:r>
              <a:rPr lang="es-ES_tradnl" dirty="0"/>
              <a:t> of </a:t>
            </a:r>
            <a:r>
              <a:rPr lang="es-ES_tradnl" dirty="0" err="1"/>
              <a:t>the</a:t>
            </a:r>
            <a:r>
              <a:rPr lang="es-ES_tradnl" dirty="0"/>
              <a:t> </a:t>
            </a:r>
            <a:r>
              <a:rPr lang="es-ES_tradnl" dirty="0" err="1"/>
              <a:t>Privy</a:t>
            </a:r>
            <a:r>
              <a:rPr lang="es-ES_tradnl" dirty="0"/>
              <a:t> Council</a:t>
            </a:r>
          </a:p>
          <a:p>
            <a:pPr lvl="1"/>
            <a:r>
              <a:rPr lang="es-ES_tradnl" dirty="0"/>
              <a:t>Corte Suprema del Caribe</a:t>
            </a:r>
          </a:p>
        </p:txBody>
      </p:sp>
    </p:spTree>
    <p:extLst>
      <p:ext uri="{BB962C8B-B14F-4D97-AF65-F5344CB8AC3E}">
        <p14:creationId xmlns:p14="http://schemas.microsoft.com/office/powerpoint/2010/main" val="40934790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ECB1D4-0DCE-2A49-BEAB-3C3C0CE2E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Preguntas de la investigació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13A06B-3358-F24C-ADD9-3F19F6A887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_tradnl" dirty="0"/>
          </a:p>
          <a:p>
            <a:r>
              <a:rPr lang="es-ES_tradnl" dirty="0"/>
              <a:t>Cómo y Por qué?</a:t>
            </a:r>
          </a:p>
          <a:p>
            <a:endParaRPr lang="es-ES_tradnl" dirty="0"/>
          </a:p>
          <a:p>
            <a:r>
              <a:rPr lang="es-ES_tradnl" dirty="0"/>
              <a:t>Métodos y argumentos más importantes? Cómo expresan el desacuerdo?</a:t>
            </a:r>
          </a:p>
          <a:p>
            <a:r>
              <a:rPr lang="es-ES_tradnl" dirty="0"/>
              <a:t>Similitudes y diferencias dentro de América Latina y con países extranjeros?</a:t>
            </a:r>
          </a:p>
          <a:p>
            <a:r>
              <a:rPr lang="es-ES_tradnl" dirty="0"/>
              <a:t>Tendencias de toma de decisión?</a:t>
            </a:r>
          </a:p>
          <a:p>
            <a:r>
              <a:rPr lang="es-ES_tradnl" dirty="0"/>
              <a:t>Cualidad e impacto de decisiones?</a:t>
            </a:r>
          </a:p>
          <a:p>
            <a:endParaRPr lang="es-ES_tradnl" dirty="0"/>
          </a:p>
          <a:p>
            <a:endParaRPr lang="es-ES_tradnl" dirty="0"/>
          </a:p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6928224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0E047B-A2EC-4143-B60F-C7B062B4A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Metodología mixto: Datos ➕ Doctrin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127C09-1C77-3E4F-86A0-C88DF008F9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_tradnl" dirty="0"/>
              <a:t>Pilar Empírico</a:t>
            </a:r>
          </a:p>
          <a:p>
            <a:r>
              <a:rPr lang="es-ES_tradnl" dirty="0"/>
              <a:t>40 sentencias emblemáticos de cada jurisdicción</a:t>
            </a:r>
          </a:p>
          <a:p>
            <a:r>
              <a:rPr lang="es-ES_tradnl" dirty="0"/>
              <a:t>Usando 49 indicadores categóricos </a:t>
            </a:r>
          </a:p>
          <a:p>
            <a:endParaRPr lang="es-ES_tradnl" dirty="0"/>
          </a:p>
          <a:p>
            <a:pPr marL="0" indent="0">
              <a:buNone/>
            </a:pPr>
            <a:r>
              <a:rPr lang="es-ES_tradnl" dirty="0"/>
              <a:t>Pilar Doctrinal</a:t>
            </a:r>
          </a:p>
          <a:p>
            <a:r>
              <a:rPr lang="es-ES_tradnl" dirty="0"/>
              <a:t>Contexto político y jurídico</a:t>
            </a:r>
          </a:p>
          <a:p>
            <a:r>
              <a:rPr lang="es-ES_tradnl" dirty="0"/>
              <a:t>Historia, competencias y características de las Cortes</a:t>
            </a:r>
          </a:p>
          <a:p>
            <a:r>
              <a:rPr lang="es-ES_tradnl" dirty="0"/>
              <a:t>Rasgos de la comunidad académica</a:t>
            </a:r>
          </a:p>
        </p:txBody>
      </p:sp>
    </p:spTree>
    <p:extLst>
      <p:ext uri="{BB962C8B-B14F-4D97-AF65-F5344CB8AC3E}">
        <p14:creationId xmlns:p14="http://schemas.microsoft.com/office/powerpoint/2010/main" val="14804646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2896C17-3B9D-5B48-8BB2-97A4A7822C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085407"/>
            <a:ext cx="12192000" cy="4687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51951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566447-6A5E-0244-A2B8-DBBE4D05B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II. La Corte Constitucional anterior del Ecuador</a:t>
            </a:r>
          </a:p>
        </p:txBody>
      </p:sp>
    </p:spTree>
    <p:extLst>
      <p:ext uri="{BB962C8B-B14F-4D97-AF65-F5344CB8AC3E}">
        <p14:creationId xmlns:p14="http://schemas.microsoft.com/office/powerpoint/2010/main" val="10276410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C32D05-1D23-A846-ABAE-37CAA4EF7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Experiencias del nivel glob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0CDEA0-2491-8D4F-9E8C-C376FBB390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_tradnl" dirty="0"/>
              <a:t>Número creciente de casos de derechos ➣ más fuerte “</a:t>
            </a:r>
            <a:r>
              <a:rPr lang="es-ES_tradnl" dirty="0" err="1"/>
              <a:t>Rights</a:t>
            </a:r>
            <a:r>
              <a:rPr lang="es-ES_tradnl" dirty="0"/>
              <a:t> </a:t>
            </a:r>
            <a:r>
              <a:rPr lang="es-ES_tradnl" dirty="0" err="1"/>
              <a:t>talk</a:t>
            </a:r>
            <a:r>
              <a:rPr lang="es-ES_tradnl" dirty="0"/>
              <a:t>”</a:t>
            </a:r>
          </a:p>
          <a:p>
            <a:r>
              <a:rPr lang="es-ES_tradnl" dirty="0"/>
              <a:t>Número creciente del uso de precedentes ➣ </a:t>
            </a:r>
            <a:r>
              <a:rPr lang="es-ES_tradnl" dirty="0" err="1"/>
              <a:t>commonlawisación</a:t>
            </a:r>
            <a:endParaRPr lang="es-ES_tradnl" dirty="0"/>
          </a:p>
          <a:p>
            <a:r>
              <a:rPr lang="es-ES_tradnl" dirty="0"/>
              <a:t>Número creciente del  uso métodos teleológicos ➣ auto-empoderamiento de los jueces</a:t>
            </a:r>
          </a:p>
          <a:p>
            <a:r>
              <a:rPr lang="es-ES_tradnl" dirty="0"/>
              <a:t>Número creciente del uso de conceptos ➣ diversidad conceptual</a:t>
            </a:r>
          </a:p>
          <a:p>
            <a:r>
              <a:rPr lang="es-ES_tradnl" dirty="0"/>
              <a:t>Número creciente del uso de derecho internacional y comparado ➣ Dialogo transnacional</a:t>
            </a:r>
          </a:p>
        </p:txBody>
      </p:sp>
    </p:spTree>
    <p:extLst>
      <p:ext uri="{BB962C8B-B14F-4D97-AF65-F5344CB8AC3E}">
        <p14:creationId xmlns:p14="http://schemas.microsoft.com/office/powerpoint/2010/main" val="26775986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C1C582-219B-D945-9D05-78AE75C61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Cómo se ve esto en Ecuador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596365-787C-C04D-9E32-64547A4123E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_tradnl" dirty="0"/>
              <a:t>Número creciente de casos de derechos ➣ </a:t>
            </a:r>
            <a:r>
              <a:rPr lang="es-ES_tradnl" strike="sngStrike" dirty="0">
                <a:solidFill>
                  <a:srgbClr val="FF0000"/>
                </a:solidFill>
              </a:rPr>
              <a:t>más fuerte “</a:t>
            </a:r>
            <a:r>
              <a:rPr lang="es-ES_tradnl" strike="sngStrike" dirty="0" err="1">
                <a:solidFill>
                  <a:srgbClr val="FF0000"/>
                </a:solidFill>
              </a:rPr>
              <a:t>Rights</a:t>
            </a:r>
            <a:r>
              <a:rPr lang="es-ES_tradnl" strike="sngStrike" dirty="0">
                <a:solidFill>
                  <a:srgbClr val="FF0000"/>
                </a:solidFill>
              </a:rPr>
              <a:t> </a:t>
            </a:r>
            <a:r>
              <a:rPr lang="es-ES_tradnl" strike="sngStrike" dirty="0" err="1">
                <a:solidFill>
                  <a:srgbClr val="FF0000"/>
                </a:solidFill>
              </a:rPr>
              <a:t>talk</a:t>
            </a:r>
            <a:r>
              <a:rPr lang="es-ES_tradnl" strike="sngStrike" dirty="0">
                <a:solidFill>
                  <a:srgbClr val="FF0000"/>
                </a:solidFill>
              </a:rPr>
              <a:t>”</a:t>
            </a:r>
          </a:p>
          <a:p>
            <a:r>
              <a:rPr lang="es-ES_tradnl" dirty="0"/>
              <a:t>Número creciente del uso de precedentes ➣ </a:t>
            </a:r>
            <a:r>
              <a:rPr lang="es-ES_tradnl" dirty="0" err="1">
                <a:solidFill>
                  <a:schemeClr val="accent6"/>
                </a:solidFill>
              </a:rPr>
              <a:t>commonlawisación</a:t>
            </a:r>
            <a:endParaRPr lang="es-ES_tradnl" dirty="0">
              <a:solidFill>
                <a:schemeClr val="accent6"/>
              </a:solidFill>
            </a:endParaRPr>
          </a:p>
          <a:p>
            <a:r>
              <a:rPr lang="es-ES_tradnl" dirty="0"/>
              <a:t>Número creciente del  uso métodos teleológicos ➣ </a:t>
            </a:r>
            <a:r>
              <a:rPr lang="es-ES_tradnl" dirty="0">
                <a:solidFill>
                  <a:srgbClr val="FFC000"/>
                </a:solidFill>
              </a:rPr>
              <a:t>auto-empoderamiento de los jueces</a:t>
            </a:r>
          </a:p>
          <a:p>
            <a:r>
              <a:rPr lang="es-ES_tradnl" dirty="0"/>
              <a:t>Número creciente del uso de conceptos ➣ </a:t>
            </a:r>
            <a:r>
              <a:rPr lang="es-ES_tradnl" strike="sngStrike" dirty="0">
                <a:solidFill>
                  <a:srgbClr val="FF0000"/>
                </a:solidFill>
              </a:rPr>
              <a:t>diversidad conceptual</a:t>
            </a:r>
          </a:p>
          <a:p>
            <a:r>
              <a:rPr lang="es-ES_tradnl" dirty="0"/>
              <a:t>Número creciente del uso de derecho internacional y comparado ➣ </a:t>
            </a:r>
            <a:r>
              <a:rPr lang="es-ES_tradnl" dirty="0">
                <a:solidFill>
                  <a:srgbClr val="FFC000"/>
                </a:solidFill>
              </a:rPr>
              <a:t>Dialogo transnacional</a:t>
            </a:r>
          </a:p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7806854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273D71-CAD4-534C-9BC3-FD26FF6092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err="1"/>
              <a:t>Pseudo</a:t>
            </a:r>
            <a:r>
              <a:rPr lang="es-ES_tradnl" dirty="0"/>
              <a:t>-argument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48F68B-404D-274B-9880-DE28510A89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_tradnl" dirty="0"/>
          </a:p>
          <a:p>
            <a:r>
              <a:rPr lang="es-ES_tradnl" dirty="0"/>
              <a:t>Argumentos meramente mencionados pero realmente no considerados</a:t>
            </a:r>
          </a:p>
          <a:p>
            <a:r>
              <a:rPr lang="es-ES_tradnl" dirty="0"/>
              <a:t>Argumentos retóricos que la Corte usa para desviar la atención</a:t>
            </a:r>
          </a:p>
          <a:p>
            <a:r>
              <a:rPr lang="es-ES_tradnl" dirty="0"/>
              <a:t>“Argumentos” de subsunción, presentando el resultado como si fuera necesariamente la única posible interpretación</a:t>
            </a:r>
          </a:p>
          <a:p>
            <a:endParaRPr lang="es-ES_tradnl" dirty="0"/>
          </a:p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3966751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59EDC1-6105-134D-A6FB-3D451E27F2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Cómo medir </a:t>
            </a:r>
            <a:r>
              <a:rPr lang="es-ES_tradnl" dirty="0" err="1"/>
              <a:t>pseudo</a:t>
            </a:r>
            <a:r>
              <a:rPr lang="es-ES_tradnl" dirty="0"/>
              <a:t>-argumentos?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502225-231C-6A4B-A1EB-4E4DC45EF9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_tradnl" dirty="0"/>
          </a:p>
          <a:p>
            <a:pPr marL="0" indent="0">
              <a:buNone/>
            </a:pPr>
            <a:r>
              <a:rPr lang="es-ES_tradnl" dirty="0"/>
              <a:t>Calidad del razonamiento: la conexión clara, coherente y expresa entre los argumentos mencionados y el argumento que realmente llevó la Corte a la </a:t>
            </a:r>
            <a:r>
              <a:rPr lang="es-ES_tradnl" dirty="0" err="1"/>
              <a:t>decidión</a:t>
            </a:r>
            <a:endParaRPr lang="es-ES_tradnl" dirty="0"/>
          </a:p>
          <a:p>
            <a:r>
              <a:rPr lang="es-ES_tradnl" dirty="0"/>
              <a:t>Argumento de ratio </a:t>
            </a:r>
            <a:r>
              <a:rPr lang="es-ES_tradnl" dirty="0" err="1"/>
              <a:t>decidendi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4687883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C1C2D3-A7BC-B649-9DC8-F3E7A169DB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72247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BF157E-7B55-6840-B4DA-FE46569F0A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Calidad de las decisiones de la CC anterio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1D86E0-ACFD-1941-8BEE-8DA9E558D1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_tradnl" dirty="0"/>
          </a:p>
          <a:p>
            <a:r>
              <a:rPr lang="es-ES_tradnl" dirty="0"/>
              <a:t>Sobre 40 </a:t>
            </a:r>
          </a:p>
          <a:p>
            <a:pPr lvl="1"/>
            <a:r>
              <a:rPr lang="es-ES_tradnl" dirty="0"/>
              <a:t>10 casos en que no hemos encontrado un razonamiento normativo, justificativo y expreso</a:t>
            </a:r>
          </a:p>
          <a:p>
            <a:pPr lvl="1"/>
            <a:r>
              <a:rPr lang="es-ES_tradnl" dirty="0"/>
              <a:t>9 casos en que la Corte uso razones de procedimiento en vez de entrar en el asunto sustancial</a:t>
            </a:r>
          </a:p>
          <a:p>
            <a:pPr lvl="1"/>
            <a:r>
              <a:rPr lang="es-ES_tradnl" dirty="0"/>
              <a:t>El resto: precedentes, derechos internacional, etc.</a:t>
            </a:r>
          </a:p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9229665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51E58A-E231-274F-A06E-CF8A8BDD35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Precedent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9D24FE-1CBD-DD4A-AF44-CC55CF68E0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_tradnl" dirty="0"/>
          </a:p>
          <a:p>
            <a:r>
              <a:rPr lang="es-ES_tradnl" dirty="0"/>
              <a:t>28/40</a:t>
            </a:r>
          </a:p>
          <a:p>
            <a:r>
              <a:rPr lang="es-ES_tradnl" dirty="0"/>
              <a:t>5 conclusivo</a:t>
            </a:r>
          </a:p>
        </p:txBody>
      </p:sp>
    </p:spTree>
    <p:extLst>
      <p:ext uri="{BB962C8B-B14F-4D97-AF65-F5344CB8AC3E}">
        <p14:creationId xmlns:p14="http://schemas.microsoft.com/office/powerpoint/2010/main" val="21182635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68215EC-E579-D34C-A7C2-BDD3C637DF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9504" y="0"/>
            <a:ext cx="943299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5322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4552F5-104B-D94C-84DD-3146F7ADAD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Concept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2741AF-FD56-F44A-8873-3400BB8FC8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_tradnl" dirty="0"/>
              <a:t>10/40</a:t>
            </a:r>
          </a:p>
          <a:p>
            <a:endParaRPr lang="es-ES_tradnl" dirty="0"/>
          </a:p>
          <a:p>
            <a:r>
              <a:rPr lang="es-ES_tradnl" dirty="0"/>
              <a:t>Diccionario de Real Academia Española buscando la palabra “discriminación”</a:t>
            </a:r>
          </a:p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3148549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DF2CC4-175B-6243-8A21-39E11B2D27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Interpretación teleológic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0AF056-35EA-DD4E-BBD6-BBEFA07A1D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_tradnl" dirty="0"/>
          </a:p>
          <a:p>
            <a:r>
              <a:rPr lang="es-ES_tradnl" dirty="0"/>
              <a:t>33/40</a:t>
            </a:r>
          </a:p>
          <a:p>
            <a:r>
              <a:rPr lang="es-ES_tradnl" dirty="0"/>
              <a:t>Pero casi siempre en relación con reglas de procedimiento y de asuntos sustanciales</a:t>
            </a:r>
          </a:p>
        </p:txBody>
      </p:sp>
    </p:spTree>
    <p:extLst>
      <p:ext uri="{BB962C8B-B14F-4D97-AF65-F5344CB8AC3E}">
        <p14:creationId xmlns:p14="http://schemas.microsoft.com/office/powerpoint/2010/main" val="32959730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177DB6-4494-9640-A0AA-70430B6D98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Resultado de los cas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5C11F5-52D9-D94C-A074-276475C044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_tradnl" dirty="0"/>
              <a:t>20/40 ganado por el demandante</a:t>
            </a:r>
          </a:p>
          <a:p>
            <a:endParaRPr lang="es-ES_tradnl" dirty="0"/>
          </a:p>
          <a:p>
            <a:r>
              <a:rPr lang="es-ES_tradnl" dirty="0"/>
              <a:t>En Alemania es 25</a:t>
            </a:r>
          </a:p>
          <a:p>
            <a:endParaRPr lang="es-ES_tradnl" dirty="0"/>
          </a:p>
          <a:p>
            <a:pPr marL="0" indent="0">
              <a:buNone/>
            </a:pPr>
            <a:endParaRPr lang="es-ES_tradnl" dirty="0"/>
          </a:p>
          <a:p>
            <a:pPr marL="0" indent="0">
              <a:buNone/>
            </a:pPr>
            <a:r>
              <a:rPr lang="es-ES_tradnl" sz="9600" dirty="0"/>
              <a:t>🤔</a:t>
            </a:r>
          </a:p>
        </p:txBody>
      </p:sp>
    </p:spTree>
    <p:extLst>
      <p:ext uri="{BB962C8B-B14F-4D97-AF65-F5344CB8AC3E}">
        <p14:creationId xmlns:p14="http://schemas.microsoft.com/office/powerpoint/2010/main" val="200429673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6C79AD2-A6C4-E44D-BD26-50D9C5BFA8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4041" y="0"/>
            <a:ext cx="942391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0933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6D9A80A-B3FD-3A4F-9F65-EC92E052D1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4041" y="0"/>
            <a:ext cx="942391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02868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1B9D9B-0DDA-6142-8C8D-0C54E88984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Conclusiones generales sobre Ecuado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6853EB-8ACC-C74F-AB81-B01EFA63513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ES_tradnl" dirty="0"/>
          </a:p>
          <a:p>
            <a:r>
              <a:rPr lang="es-ES_tradnl" dirty="0"/>
              <a:t>No construía argumentos del texto de la constitución</a:t>
            </a:r>
          </a:p>
          <a:p>
            <a:r>
              <a:rPr lang="es-ES_tradnl" dirty="0"/>
              <a:t>Muy frecuentemente sólo mencionaba los argumentos pero no los usaba</a:t>
            </a:r>
          </a:p>
          <a:p>
            <a:r>
              <a:rPr lang="es-ES_tradnl" dirty="0"/>
              <a:t>Se escondía atrás de las reglas de procedimiento y no entraba en asuntos sustanciales</a:t>
            </a:r>
          </a:p>
          <a:p>
            <a:r>
              <a:rPr lang="es-ES_tradnl" dirty="0"/>
              <a:t>Debilitaba la fuerza normativa de la constitución por las prácticas abusivas y incoherentes</a:t>
            </a:r>
          </a:p>
          <a:p>
            <a:r>
              <a:rPr lang="es-ES_tradnl" dirty="0"/>
              <a:t>No valoraba el discurso, el desacuerdo</a:t>
            </a:r>
          </a:p>
        </p:txBody>
      </p:sp>
    </p:spTree>
    <p:extLst>
      <p:ext uri="{BB962C8B-B14F-4D97-AF65-F5344CB8AC3E}">
        <p14:creationId xmlns:p14="http://schemas.microsoft.com/office/powerpoint/2010/main" val="150805674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EDBA53-DA9B-8841-8FD8-D938B7CA3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III. Las Dilemas sobre América Latina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7C71D9-2576-A040-87D2-FF8D20A6BA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_tradnl" dirty="0"/>
              <a:t>Indicadores para medir la calidad del razonamiento constitucional?</a:t>
            </a:r>
          </a:p>
          <a:p>
            <a:r>
              <a:rPr lang="es-ES_tradnl" dirty="0"/>
              <a:t>Nuevos indicadores</a:t>
            </a:r>
          </a:p>
          <a:p>
            <a:pPr lvl="1"/>
            <a:r>
              <a:rPr lang="es-ES_tradnl" dirty="0"/>
              <a:t>Cuántas veces gana el gobierno o sus órganos?</a:t>
            </a:r>
          </a:p>
          <a:p>
            <a:pPr lvl="1"/>
            <a:r>
              <a:rPr lang="es-ES_tradnl" dirty="0"/>
              <a:t>Coherencia entre los argumentos mencionados y el ratio </a:t>
            </a:r>
            <a:r>
              <a:rPr lang="es-ES_tradnl" dirty="0" err="1"/>
              <a:t>decidendi</a:t>
            </a:r>
            <a:r>
              <a:rPr lang="es-ES_tradnl" dirty="0"/>
              <a:t>?</a:t>
            </a:r>
          </a:p>
          <a:p>
            <a:pPr lvl="1"/>
            <a:r>
              <a:rPr lang="es-ES_tradnl" dirty="0"/>
              <a:t>Deferencia hacía el legislador/gobierno?</a:t>
            </a:r>
          </a:p>
          <a:p>
            <a:pPr lvl="1"/>
            <a:r>
              <a:rPr lang="es-ES_tradnl" dirty="0"/>
              <a:t>Activismo en competencias, remedios y interpretación?</a:t>
            </a:r>
          </a:p>
          <a:p>
            <a:pPr lvl="1"/>
            <a:r>
              <a:rPr lang="es-ES_tradnl" dirty="0"/>
              <a:t>Cumplimiento de las sentencias? </a:t>
            </a:r>
          </a:p>
        </p:txBody>
      </p:sp>
    </p:spTree>
    <p:extLst>
      <p:ext uri="{BB962C8B-B14F-4D97-AF65-F5344CB8AC3E}">
        <p14:creationId xmlns:p14="http://schemas.microsoft.com/office/powerpoint/2010/main" val="37067893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A5EC81-1DA4-BC49-A3D7-12D46CBA6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13520C-41EB-304C-A525-56F9872489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s-ES_tradnl" dirty="0"/>
          </a:p>
          <a:p>
            <a:pPr marL="571500" indent="-571500">
              <a:buAutoNum type="romanUcPeriod"/>
            </a:pPr>
            <a:r>
              <a:rPr lang="es-ES_tradnl" dirty="0"/>
              <a:t>Introducción de la investigación CORE y sus objetivos</a:t>
            </a:r>
          </a:p>
          <a:p>
            <a:pPr marL="571500" indent="-571500">
              <a:buAutoNum type="romanUcPeriod"/>
            </a:pPr>
            <a:endParaRPr lang="es-ES_tradnl" dirty="0"/>
          </a:p>
          <a:p>
            <a:pPr marL="571500" indent="-571500">
              <a:buAutoNum type="romanUcPeriod"/>
            </a:pPr>
            <a:r>
              <a:rPr lang="es-ES_tradnl" dirty="0"/>
              <a:t>Las experiencias sobre Ecuador</a:t>
            </a:r>
          </a:p>
          <a:p>
            <a:pPr marL="571500" indent="-571500">
              <a:buAutoNum type="romanUcPeriod"/>
            </a:pPr>
            <a:endParaRPr lang="es-ES_tradnl" dirty="0"/>
          </a:p>
          <a:p>
            <a:pPr marL="571500" indent="-571500">
              <a:buAutoNum type="romanUcPeriod"/>
            </a:pPr>
            <a:r>
              <a:rPr lang="es-ES_tradnl" dirty="0"/>
              <a:t>Las dilemas de la investigación sobre América Latina</a:t>
            </a:r>
          </a:p>
        </p:txBody>
      </p:sp>
    </p:spTree>
    <p:extLst>
      <p:ext uri="{BB962C8B-B14F-4D97-AF65-F5344CB8AC3E}">
        <p14:creationId xmlns:p14="http://schemas.microsoft.com/office/powerpoint/2010/main" val="16754085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65FEF2-40EA-D447-8DAB-EA22D9219C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F33C96-D882-DC4B-B6C6-35431C0885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_tradnl" dirty="0"/>
              <a:t>Indicadores para identificar las divisiones mas frecuentes entre jueces, cortes y regiones:</a:t>
            </a:r>
          </a:p>
          <a:p>
            <a:r>
              <a:rPr lang="es-ES_tradnl" dirty="0"/>
              <a:t>Método textual en votos salvados o en votos mayoritarios?</a:t>
            </a:r>
          </a:p>
          <a:p>
            <a:r>
              <a:rPr lang="es-ES_tradnl" dirty="0"/>
              <a:t>Argumentos de la intención del legislador en votos salvados o en votos mayoritarios? (formalistas vs. progresistas?)</a:t>
            </a:r>
          </a:p>
          <a:p>
            <a:r>
              <a:rPr lang="es-ES_tradnl" dirty="0"/>
              <a:t>Referencia al derecho comparado de América Latina o de otros países? (diálogo latinoamericano? </a:t>
            </a:r>
            <a:r>
              <a:rPr lang="es-ES_tradnl" dirty="0" err="1"/>
              <a:t>Ius</a:t>
            </a:r>
            <a:r>
              <a:rPr lang="es-ES_tradnl" dirty="0"/>
              <a:t> </a:t>
            </a:r>
            <a:r>
              <a:rPr lang="es-ES_tradnl" dirty="0" err="1"/>
              <a:t>Comune</a:t>
            </a:r>
            <a:r>
              <a:rPr lang="es-ES_tradnl" dirty="0"/>
              <a:t> de América Latina?)</a:t>
            </a:r>
          </a:p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58597027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5D98C-3392-9649-AFAE-9155E3FFCEF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B7E24F-C15F-D146-89BD-97AE9F184B8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2929391"/>
          </a:xfrm>
        </p:spPr>
        <p:txBody>
          <a:bodyPr>
            <a:normAutofit/>
          </a:bodyPr>
          <a:lstStyle/>
          <a:p>
            <a:r>
              <a:rPr lang="es-ES_tradnl" sz="4000" b="1" dirty="0">
                <a:solidFill>
                  <a:schemeClr val="accent1">
                    <a:lumMod val="50000"/>
                  </a:schemeClr>
                </a:solidFill>
              </a:rPr>
              <a:t>Muchas gracias por su atención!</a:t>
            </a:r>
          </a:p>
          <a:p>
            <a:endParaRPr lang="es-ES_tradnl" sz="4000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es-ES_tradnl" sz="2800" dirty="0">
                <a:solidFill>
                  <a:schemeClr val="accent1">
                    <a:lumMod val="50000"/>
                  </a:schemeClr>
                </a:solidFill>
              </a:rPr>
              <a:t>Johanna </a:t>
            </a:r>
            <a:r>
              <a:rPr lang="es-ES_tradnl" sz="2800" dirty="0" err="1">
                <a:solidFill>
                  <a:schemeClr val="accent1">
                    <a:lumMod val="50000"/>
                  </a:schemeClr>
                </a:solidFill>
              </a:rPr>
              <a:t>Fröhlich</a:t>
            </a:r>
            <a:r>
              <a:rPr lang="es-ES_tradnl" sz="2800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es-ES_tradnl" sz="2800" dirty="0">
                <a:solidFill>
                  <a:schemeClr val="accent1">
                    <a:lumMod val="50000"/>
                  </a:schemeClr>
                </a:solidFill>
                <a:hlinkClick r:id="rId2"/>
              </a:rPr>
              <a:t>jfrohlich@usfq.edu.ec</a:t>
            </a:r>
            <a:r>
              <a:rPr lang="es-ES_tradnl" sz="2800" dirty="0">
                <a:solidFill>
                  <a:schemeClr val="accent1">
                    <a:lumMod val="50000"/>
                  </a:schemeClr>
                </a:solidFill>
              </a:rPr>
              <a:t>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3C8BAD5-7CFF-3B4E-9008-993355870FE9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1881808" y="1122363"/>
            <a:ext cx="3737114" cy="23876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97ED56C-3CEA-6B4B-99A7-B298711A2B3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27461" y="1300163"/>
            <a:ext cx="2032000" cy="20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0495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51A651-056D-6E42-AC8A-7294A1A4FC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I. El Proyecto CO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613226-B59B-9A4F-8465-462C46E4307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s-ES_tradnl" dirty="0"/>
          </a:p>
          <a:p>
            <a:pPr marL="0" indent="0">
              <a:buNone/>
            </a:pPr>
            <a:endParaRPr lang="es-ES_tradnl" dirty="0"/>
          </a:p>
          <a:p>
            <a:pPr marL="0" indent="0">
              <a:buNone/>
            </a:pPr>
            <a:r>
              <a:rPr lang="es-ES_tradnl" dirty="0"/>
              <a:t>Analizar la práctica de Cortes Constitucionales en América Latina desde el punto de vista de las características del razonamiento constitucional</a:t>
            </a:r>
          </a:p>
        </p:txBody>
      </p:sp>
    </p:spTree>
    <p:extLst>
      <p:ext uri="{BB962C8B-B14F-4D97-AF65-F5344CB8AC3E}">
        <p14:creationId xmlns:p14="http://schemas.microsoft.com/office/powerpoint/2010/main" val="25483567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DFD88C-DF05-184D-AF12-C267C462E1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Objetivos en el nivel nacion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AB26C0-EAB8-0B46-8A67-9E07D84155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_tradnl" dirty="0"/>
              <a:t>Contribuir al ejercer control académico sobre el toma de decisiones de la Corte Constitucional</a:t>
            </a:r>
          </a:p>
          <a:p>
            <a:r>
              <a:rPr lang="es-ES_tradnl" dirty="0"/>
              <a:t>Contribuir a construir un discurso público a través de armar los diferentes actores con argumentos profesionales y de buena calidad</a:t>
            </a:r>
          </a:p>
          <a:p>
            <a:r>
              <a:rPr lang="es-ES_tradnl" dirty="0"/>
              <a:t>Crear una investigación jurídica sistemática en este tema que complementa las investigaciones de ciencia política. </a:t>
            </a:r>
          </a:p>
        </p:txBody>
      </p:sp>
    </p:spTree>
    <p:extLst>
      <p:ext uri="{BB962C8B-B14F-4D97-AF65-F5344CB8AC3E}">
        <p14:creationId xmlns:p14="http://schemas.microsoft.com/office/powerpoint/2010/main" val="7074135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B1AF81-B4C8-2840-B444-DF657E032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/>
              <a:t>Objetivos en el nivel glob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025960-163C-E445-80AA-38C3B62A3B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_tradnl" dirty="0"/>
              <a:t>Contribuir a la literatura de derecho constitucional comparado con la experiencia de América Latina</a:t>
            </a:r>
          </a:p>
          <a:p>
            <a:r>
              <a:rPr lang="es-ES_tradnl" dirty="0"/>
              <a:t>Crear una red de expertos en la región</a:t>
            </a:r>
          </a:p>
          <a:p>
            <a:r>
              <a:rPr lang="es-ES_tradnl" dirty="0"/>
              <a:t>Publicar los resultados de la investigación en inglés para aumentar el conocimiento sobre América Latina</a:t>
            </a:r>
          </a:p>
          <a:p>
            <a:r>
              <a:rPr lang="es-ES_tradnl" dirty="0"/>
              <a:t>Identificar tendencias en América Latina y conectarlos con el diálogo global</a:t>
            </a:r>
          </a:p>
          <a:p>
            <a:endParaRPr lang="es-ES_tradnl" dirty="0"/>
          </a:p>
          <a:p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2903128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7908" y="213458"/>
            <a:ext cx="3505200" cy="642180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9631" y="213458"/>
            <a:ext cx="3716215" cy="642180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12369" y="213457"/>
            <a:ext cx="3896458" cy="633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5971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508FC2C-FCCA-3C4B-A0A4-0866FF2803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12826" y="149902"/>
            <a:ext cx="4766872" cy="6708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4941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4043364" y="5394325"/>
            <a:ext cx="33337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5"/>
              </a:cxn>
              <a:cxn ang="0">
                <a:pos x="4" y="10"/>
              </a:cxn>
              <a:cxn ang="0">
                <a:pos x="8" y="14"/>
              </a:cxn>
              <a:cxn ang="0">
                <a:pos x="13" y="20"/>
              </a:cxn>
              <a:cxn ang="0">
                <a:pos x="16" y="17"/>
              </a:cxn>
              <a:cxn ang="0">
                <a:pos x="19" y="13"/>
              </a:cxn>
              <a:cxn ang="0">
                <a:pos x="23" y="11"/>
              </a:cxn>
              <a:cxn ang="0">
                <a:pos x="27" y="10"/>
              </a:cxn>
              <a:cxn ang="0">
                <a:pos x="36" y="8"/>
              </a:cxn>
              <a:cxn ang="0">
                <a:pos x="46" y="7"/>
              </a:cxn>
              <a:cxn ang="0">
                <a:pos x="54" y="7"/>
              </a:cxn>
              <a:cxn ang="0">
                <a:pos x="63" y="6"/>
              </a:cxn>
              <a:cxn ang="0">
                <a:pos x="66" y="5"/>
              </a:cxn>
              <a:cxn ang="0">
                <a:pos x="69" y="4"/>
              </a:cxn>
              <a:cxn ang="0">
                <a:pos x="71" y="2"/>
              </a:cxn>
              <a:cxn ang="0">
                <a:pos x="73" y="0"/>
              </a:cxn>
              <a:cxn ang="0">
                <a:pos x="0" y="0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53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2201864" y="1495425"/>
            <a:ext cx="784225" cy="446088"/>
          </a:xfrm>
          <a:custGeom>
            <a:avLst/>
            <a:gdLst/>
            <a:ahLst/>
            <a:cxnLst>
              <a:cxn ang="0">
                <a:pos x="1395" y="807"/>
              </a:cxn>
              <a:cxn ang="0">
                <a:pos x="1394" y="753"/>
              </a:cxn>
              <a:cxn ang="0">
                <a:pos x="1373" y="648"/>
              </a:cxn>
              <a:cxn ang="0">
                <a:pos x="1323" y="641"/>
              </a:cxn>
              <a:cxn ang="0">
                <a:pos x="1264" y="639"/>
              </a:cxn>
              <a:cxn ang="0">
                <a:pos x="1134" y="582"/>
              </a:cxn>
              <a:cxn ang="0">
                <a:pos x="973" y="537"/>
              </a:cxn>
              <a:cxn ang="0">
                <a:pos x="943" y="504"/>
              </a:cxn>
              <a:cxn ang="0">
                <a:pos x="901" y="516"/>
              </a:cxn>
              <a:cxn ang="0">
                <a:pos x="849" y="570"/>
              </a:cxn>
              <a:cxn ang="0">
                <a:pos x="675" y="619"/>
              </a:cxn>
              <a:cxn ang="0">
                <a:pos x="678" y="578"/>
              </a:cxn>
              <a:cxn ang="0">
                <a:pos x="721" y="548"/>
              </a:cxn>
              <a:cxn ang="0">
                <a:pos x="786" y="545"/>
              </a:cxn>
              <a:cxn ang="0">
                <a:pos x="724" y="528"/>
              </a:cxn>
              <a:cxn ang="0">
                <a:pos x="578" y="589"/>
              </a:cxn>
              <a:cxn ang="0">
                <a:pos x="547" y="625"/>
              </a:cxn>
              <a:cxn ang="0">
                <a:pos x="526" y="650"/>
              </a:cxn>
              <a:cxn ang="0">
                <a:pos x="452" y="654"/>
              </a:cxn>
              <a:cxn ang="0">
                <a:pos x="383" y="702"/>
              </a:cxn>
              <a:cxn ang="0">
                <a:pos x="252" y="750"/>
              </a:cxn>
              <a:cxn ang="0">
                <a:pos x="105" y="807"/>
              </a:cxn>
              <a:cxn ang="0">
                <a:pos x="4" y="813"/>
              </a:cxn>
              <a:cxn ang="0">
                <a:pos x="14" y="789"/>
              </a:cxn>
              <a:cxn ang="0">
                <a:pos x="127" y="761"/>
              </a:cxn>
              <a:cxn ang="0">
                <a:pos x="265" y="696"/>
              </a:cxn>
              <a:cxn ang="0">
                <a:pos x="300" y="626"/>
              </a:cxn>
              <a:cxn ang="0">
                <a:pos x="253" y="657"/>
              </a:cxn>
              <a:cxn ang="0">
                <a:pos x="150" y="643"/>
              </a:cxn>
              <a:cxn ang="0">
                <a:pos x="172" y="610"/>
              </a:cxn>
              <a:cxn ang="0">
                <a:pos x="240" y="547"/>
              </a:cxn>
              <a:cxn ang="0">
                <a:pos x="152" y="575"/>
              </a:cxn>
              <a:cxn ang="0">
                <a:pos x="143" y="536"/>
              </a:cxn>
              <a:cxn ang="0">
                <a:pos x="346" y="380"/>
              </a:cxn>
              <a:cxn ang="0">
                <a:pos x="444" y="382"/>
              </a:cxn>
              <a:cxn ang="0">
                <a:pos x="569" y="349"/>
              </a:cxn>
              <a:cxn ang="0">
                <a:pos x="592" y="306"/>
              </a:cxn>
              <a:cxn ang="0">
                <a:pos x="506" y="331"/>
              </a:cxn>
              <a:cxn ang="0">
                <a:pos x="438" y="318"/>
              </a:cxn>
              <a:cxn ang="0">
                <a:pos x="472" y="287"/>
              </a:cxn>
              <a:cxn ang="0">
                <a:pos x="711" y="238"/>
              </a:cxn>
              <a:cxn ang="0">
                <a:pos x="749" y="210"/>
              </a:cxn>
              <a:cxn ang="0">
                <a:pos x="684" y="176"/>
              </a:cxn>
              <a:cxn ang="0">
                <a:pos x="739" y="109"/>
              </a:cxn>
              <a:cxn ang="0">
                <a:pos x="988" y="27"/>
              </a:cxn>
              <a:cxn ang="0">
                <a:pos x="1157" y="9"/>
              </a:cxn>
              <a:cxn ang="0">
                <a:pos x="1277" y="2"/>
              </a:cxn>
              <a:cxn ang="0">
                <a:pos x="1354" y="10"/>
              </a:cxn>
              <a:cxn ang="0">
                <a:pos x="1516" y="34"/>
              </a:cxn>
              <a:cxn ang="0">
                <a:pos x="1761" y="41"/>
              </a:cxn>
              <a:cxn ang="0">
                <a:pos x="1287" y="540"/>
              </a:cxn>
              <a:cxn ang="0">
                <a:pos x="1321" y="571"/>
              </a:cxn>
              <a:cxn ang="0">
                <a:pos x="1327" y="601"/>
              </a:cxn>
              <a:cxn ang="0">
                <a:pos x="1382" y="599"/>
              </a:cxn>
              <a:cxn ang="0">
                <a:pos x="1429" y="577"/>
              </a:cxn>
              <a:cxn ang="0">
                <a:pos x="1475" y="667"/>
              </a:cxn>
              <a:cxn ang="0">
                <a:pos x="1462" y="706"/>
              </a:cxn>
              <a:cxn ang="0">
                <a:pos x="1449" y="742"/>
              </a:cxn>
              <a:cxn ang="0">
                <a:pos x="1477" y="783"/>
              </a:cxn>
              <a:cxn ang="0">
                <a:pos x="1477" y="811"/>
              </a:cxn>
              <a:cxn ang="0">
                <a:pos x="1426" y="848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054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662239" y="2111375"/>
            <a:ext cx="1381125" cy="769938"/>
          </a:xfrm>
          <a:custGeom>
            <a:avLst/>
            <a:gdLst/>
            <a:ahLst/>
            <a:cxnLst>
              <a:cxn ang="0">
                <a:pos x="2928" y="353"/>
              </a:cxn>
              <a:cxn ang="0">
                <a:pos x="2896" y="440"/>
              </a:cxn>
              <a:cxn ang="0">
                <a:pos x="2843" y="462"/>
              </a:cxn>
              <a:cxn ang="0">
                <a:pos x="2667" y="566"/>
              </a:cxn>
              <a:cxn ang="0">
                <a:pos x="2595" y="585"/>
              </a:cxn>
              <a:cxn ang="0">
                <a:pos x="2570" y="677"/>
              </a:cxn>
              <a:cxn ang="0">
                <a:pos x="2514" y="621"/>
              </a:cxn>
              <a:cxn ang="0">
                <a:pos x="2499" y="690"/>
              </a:cxn>
              <a:cxn ang="0">
                <a:pos x="2465" y="744"/>
              </a:cxn>
              <a:cxn ang="0">
                <a:pos x="2471" y="823"/>
              </a:cxn>
              <a:cxn ang="0">
                <a:pos x="2332" y="928"/>
              </a:cxn>
              <a:cxn ang="0">
                <a:pos x="2165" y="1045"/>
              </a:cxn>
              <a:cxn ang="0">
                <a:pos x="2112" y="1195"/>
              </a:cxn>
              <a:cxn ang="0">
                <a:pos x="2103" y="1457"/>
              </a:cxn>
              <a:cxn ang="0">
                <a:pos x="2026" y="1414"/>
              </a:cxn>
              <a:cxn ang="0">
                <a:pos x="1993" y="1326"/>
              </a:cxn>
              <a:cxn ang="0">
                <a:pos x="1959" y="1184"/>
              </a:cxn>
              <a:cxn ang="0">
                <a:pos x="1832" y="1168"/>
              </a:cxn>
              <a:cxn ang="0">
                <a:pos x="1653" y="1143"/>
              </a:cxn>
              <a:cxn ang="0">
                <a:pos x="1616" y="1186"/>
              </a:cxn>
              <a:cxn ang="0">
                <a:pos x="1548" y="1238"/>
              </a:cxn>
              <a:cxn ang="0">
                <a:pos x="1436" y="1192"/>
              </a:cxn>
              <a:cxn ang="0">
                <a:pos x="1231" y="1272"/>
              </a:cxn>
              <a:cxn ang="0">
                <a:pos x="1160" y="1392"/>
              </a:cxn>
              <a:cxn ang="0">
                <a:pos x="1080" y="1382"/>
              </a:cxn>
              <a:cxn ang="0">
                <a:pos x="1037" y="1227"/>
              </a:cxn>
              <a:cxn ang="0">
                <a:pos x="940" y="1190"/>
              </a:cxn>
              <a:cxn ang="0">
                <a:pos x="867" y="1219"/>
              </a:cxn>
              <a:cxn ang="0">
                <a:pos x="782" y="1087"/>
              </a:cxn>
              <a:cxn ang="0">
                <a:pos x="670" y="1065"/>
              </a:cxn>
              <a:cxn ang="0">
                <a:pos x="462" y="1065"/>
              </a:cxn>
              <a:cxn ang="0">
                <a:pos x="220" y="1016"/>
              </a:cxn>
              <a:cxn ang="0">
                <a:pos x="88" y="920"/>
              </a:cxn>
              <a:cxn ang="0">
                <a:pos x="39" y="848"/>
              </a:cxn>
              <a:cxn ang="0">
                <a:pos x="29" y="662"/>
              </a:cxn>
              <a:cxn ang="0">
                <a:pos x="0" y="604"/>
              </a:cxn>
              <a:cxn ang="0">
                <a:pos x="141" y="336"/>
              </a:cxn>
              <a:cxn ang="0">
                <a:pos x="247" y="176"/>
              </a:cxn>
              <a:cxn ang="0">
                <a:pos x="355" y="102"/>
              </a:cxn>
              <a:cxn ang="0">
                <a:pos x="376" y="120"/>
              </a:cxn>
              <a:cxn ang="0">
                <a:pos x="1827" y="0"/>
              </a:cxn>
              <a:cxn ang="0">
                <a:pos x="1926" y="55"/>
              </a:cxn>
              <a:cxn ang="0">
                <a:pos x="2015" y="69"/>
              </a:cxn>
              <a:cxn ang="0">
                <a:pos x="1929" y="128"/>
              </a:cxn>
              <a:cxn ang="0">
                <a:pos x="1977" y="166"/>
              </a:cxn>
              <a:cxn ang="0">
                <a:pos x="2094" y="155"/>
              </a:cxn>
              <a:cxn ang="0">
                <a:pos x="2284" y="193"/>
              </a:cxn>
              <a:cxn ang="0">
                <a:pos x="2217" y="204"/>
              </a:cxn>
              <a:cxn ang="0">
                <a:pos x="2087" y="264"/>
              </a:cxn>
              <a:cxn ang="0">
                <a:pos x="2021" y="355"/>
              </a:cxn>
              <a:cxn ang="0">
                <a:pos x="2012" y="451"/>
              </a:cxn>
              <a:cxn ang="0">
                <a:pos x="2076" y="417"/>
              </a:cxn>
              <a:cxn ang="0">
                <a:pos x="2205" y="252"/>
              </a:cxn>
              <a:cxn ang="0">
                <a:pos x="2267" y="303"/>
              </a:cxn>
              <a:cxn ang="0">
                <a:pos x="2299" y="394"/>
              </a:cxn>
              <a:cxn ang="0">
                <a:pos x="2206" y="454"/>
              </a:cxn>
              <a:cxn ang="0">
                <a:pos x="2317" y="457"/>
              </a:cxn>
              <a:cxn ang="0">
                <a:pos x="2570" y="373"/>
              </a:cxn>
              <a:cxn ang="0">
                <a:pos x="2730" y="252"/>
              </a:cxn>
              <a:cxn ang="0">
                <a:pos x="3016" y="203"/>
              </a:cxn>
              <a:cxn ang="0">
                <a:pos x="3136" y="118"/>
              </a:cxn>
              <a:cxn ang="0">
                <a:pos x="3149" y="184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9" y="394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00B05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55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3495676" y="3662363"/>
            <a:ext cx="339725" cy="590550"/>
          </a:xfrm>
          <a:custGeom>
            <a:avLst/>
            <a:gdLst/>
            <a:ahLst/>
            <a:cxnLst>
              <a:cxn ang="0">
                <a:pos x="583" y="277"/>
              </a:cxn>
              <a:cxn ang="0">
                <a:pos x="549" y="295"/>
              </a:cxn>
              <a:cxn ang="0">
                <a:pos x="484" y="387"/>
              </a:cxn>
              <a:cxn ang="0">
                <a:pos x="465" y="457"/>
              </a:cxn>
              <a:cxn ang="0">
                <a:pos x="481" y="522"/>
              </a:cxn>
              <a:cxn ang="0">
                <a:pos x="530" y="591"/>
              </a:cxn>
              <a:cxn ang="0">
                <a:pos x="579" y="616"/>
              </a:cxn>
              <a:cxn ang="0">
                <a:pos x="625" y="600"/>
              </a:cxn>
              <a:cxn ang="0">
                <a:pos x="654" y="653"/>
              </a:cxn>
              <a:cxn ang="0">
                <a:pos x="672" y="683"/>
              </a:cxn>
              <a:cxn ang="0">
                <a:pos x="714" y="687"/>
              </a:cxn>
              <a:cxn ang="0">
                <a:pos x="749" y="712"/>
              </a:cxn>
              <a:cxn ang="0">
                <a:pos x="770" y="756"/>
              </a:cxn>
              <a:cxn ang="0">
                <a:pos x="761" y="790"/>
              </a:cxn>
              <a:cxn ang="0">
                <a:pos x="760" y="825"/>
              </a:cxn>
              <a:cxn ang="0">
                <a:pos x="772" y="882"/>
              </a:cxn>
              <a:cxn ang="0">
                <a:pos x="758" y="932"/>
              </a:cxn>
              <a:cxn ang="0">
                <a:pos x="770" y="994"/>
              </a:cxn>
              <a:cxn ang="0">
                <a:pos x="763" y="1054"/>
              </a:cxn>
              <a:cxn ang="0">
                <a:pos x="691" y="1122"/>
              </a:cxn>
              <a:cxn ang="0">
                <a:pos x="648" y="1103"/>
              </a:cxn>
              <a:cxn ang="0">
                <a:pos x="602" y="1056"/>
              </a:cxn>
              <a:cxn ang="0">
                <a:pos x="463" y="998"/>
              </a:cxn>
              <a:cxn ang="0">
                <a:pos x="425" y="967"/>
              </a:cxn>
              <a:cxn ang="0">
                <a:pos x="331" y="894"/>
              </a:cxn>
              <a:cxn ang="0">
                <a:pos x="318" y="867"/>
              </a:cxn>
              <a:cxn ang="0">
                <a:pos x="328" y="815"/>
              </a:cxn>
              <a:cxn ang="0">
                <a:pos x="290" y="778"/>
              </a:cxn>
              <a:cxn ang="0">
                <a:pos x="259" y="745"/>
              </a:cxn>
              <a:cxn ang="0">
                <a:pos x="243" y="689"/>
              </a:cxn>
              <a:cxn ang="0">
                <a:pos x="153" y="530"/>
              </a:cxn>
              <a:cxn ang="0">
                <a:pos x="120" y="487"/>
              </a:cxn>
              <a:cxn ang="0">
                <a:pos x="90" y="432"/>
              </a:cxn>
              <a:cxn ang="0">
                <a:pos x="22" y="397"/>
              </a:cxn>
              <a:cxn ang="0">
                <a:pos x="0" y="363"/>
              </a:cxn>
              <a:cxn ang="0">
                <a:pos x="13" y="276"/>
              </a:cxn>
              <a:cxn ang="0">
                <a:pos x="28" y="246"/>
              </a:cxn>
              <a:cxn ang="0">
                <a:pos x="72" y="222"/>
              </a:cxn>
              <a:cxn ang="0">
                <a:pos x="95" y="272"/>
              </a:cxn>
              <a:cxn ang="0">
                <a:pos x="158" y="307"/>
              </a:cxn>
              <a:cxn ang="0">
                <a:pos x="184" y="271"/>
              </a:cxn>
              <a:cxn ang="0">
                <a:pos x="201" y="225"/>
              </a:cxn>
              <a:cxn ang="0">
                <a:pos x="270" y="170"/>
              </a:cxn>
              <a:cxn ang="0">
                <a:pos x="344" y="120"/>
              </a:cxn>
              <a:cxn ang="0">
                <a:pos x="357" y="70"/>
              </a:cxn>
              <a:cxn ang="0">
                <a:pos x="347" y="5"/>
              </a:cxn>
              <a:cxn ang="0">
                <a:pos x="422" y="53"/>
              </a:cxn>
              <a:cxn ang="0">
                <a:pos x="467" y="107"/>
              </a:cxn>
              <a:cxn ang="0">
                <a:pos x="506" y="154"/>
              </a:cxn>
              <a:cxn ang="0">
                <a:pos x="561" y="157"/>
              </a:cxn>
              <a:cxn ang="0">
                <a:pos x="617" y="149"/>
              </a:cxn>
              <a:cxn ang="0">
                <a:pos x="640" y="156"/>
              </a:cxn>
              <a:cxn ang="0">
                <a:pos x="654" y="193"/>
              </a:cxn>
              <a:cxn ang="0">
                <a:pos x="627" y="210"/>
              </a:cxn>
              <a:cxn ang="0">
                <a:pos x="627" y="240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056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3795714" y="4225925"/>
            <a:ext cx="261937" cy="1130300"/>
          </a:xfrm>
          <a:custGeom>
            <a:avLst/>
            <a:gdLst/>
            <a:ahLst/>
            <a:cxnLst>
              <a:cxn ang="0">
                <a:pos x="418" y="2021"/>
              </a:cxn>
              <a:cxn ang="0">
                <a:pos x="342" y="1955"/>
              </a:cxn>
              <a:cxn ang="0">
                <a:pos x="339" y="1893"/>
              </a:cxn>
              <a:cxn ang="0">
                <a:pos x="345" y="1843"/>
              </a:cxn>
              <a:cxn ang="0">
                <a:pos x="362" y="1791"/>
              </a:cxn>
              <a:cxn ang="0">
                <a:pos x="354" y="1740"/>
              </a:cxn>
              <a:cxn ang="0">
                <a:pos x="332" y="1683"/>
              </a:cxn>
              <a:cxn ang="0">
                <a:pos x="303" y="1581"/>
              </a:cxn>
              <a:cxn ang="0">
                <a:pos x="226" y="1460"/>
              </a:cxn>
              <a:cxn ang="0">
                <a:pos x="206" y="1381"/>
              </a:cxn>
              <a:cxn ang="0">
                <a:pos x="217" y="1299"/>
              </a:cxn>
              <a:cxn ang="0">
                <a:pos x="208" y="1235"/>
              </a:cxn>
              <a:cxn ang="0">
                <a:pos x="185" y="1165"/>
              </a:cxn>
              <a:cxn ang="0">
                <a:pos x="211" y="1123"/>
              </a:cxn>
              <a:cxn ang="0">
                <a:pos x="195" y="1082"/>
              </a:cxn>
              <a:cxn ang="0">
                <a:pos x="211" y="1025"/>
              </a:cxn>
              <a:cxn ang="0">
                <a:pos x="210" y="993"/>
              </a:cxn>
              <a:cxn ang="0">
                <a:pos x="187" y="927"/>
              </a:cxn>
              <a:cxn ang="0">
                <a:pos x="136" y="852"/>
              </a:cxn>
              <a:cxn ang="0">
                <a:pos x="134" y="686"/>
              </a:cxn>
              <a:cxn ang="0">
                <a:pos x="183" y="584"/>
              </a:cxn>
              <a:cxn ang="0">
                <a:pos x="189" y="522"/>
              </a:cxn>
              <a:cxn ang="0">
                <a:pos x="160" y="459"/>
              </a:cxn>
              <a:cxn ang="0">
                <a:pos x="182" y="406"/>
              </a:cxn>
              <a:cxn ang="0">
                <a:pos x="229" y="346"/>
              </a:cxn>
              <a:cxn ang="0">
                <a:pos x="200" y="308"/>
              </a:cxn>
              <a:cxn ang="0">
                <a:pos x="148" y="222"/>
              </a:cxn>
              <a:cxn ang="0">
                <a:pos x="129" y="125"/>
              </a:cxn>
              <a:cxn ang="0">
                <a:pos x="91" y="37"/>
              </a:cxn>
              <a:cxn ang="0">
                <a:pos x="0" y="44"/>
              </a:cxn>
              <a:cxn ang="0">
                <a:pos x="31" y="200"/>
              </a:cxn>
              <a:cxn ang="0">
                <a:pos x="42" y="304"/>
              </a:cxn>
              <a:cxn ang="0">
                <a:pos x="27" y="374"/>
              </a:cxn>
              <a:cxn ang="0">
                <a:pos x="52" y="524"/>
              </a:cxn>
              <a:cxn ang="0">
                <a:pos x="46" y="649"/>
              </a:cxn>
              <a:cxn ang="0">
                <a:pos x="36" y="718"/>
              </a:cxn>
              <a:cxn ang="0">
                <a:pos x="52" y="767"/>
              </a:cxn>
              <a:cxn ang="0">
                <a:pos x="64" y="871"/>
              </a:cxn>
              <a:cxn ang="0">
                <a:pos x="81" y="913"/>
              </a:cxn>
              <a:cxn ang="0">
                <a:pos x="73" y="1045"/>
              </a:cxn>
              <a:cxn ang="0">
                <a:pos x="63" y="1152"/>
              </a:cxn>
              <a:cxn ang="0">
                <a:pos x="40" y="1188"/>
              </a:cxn>
              <a:cxn ang="0">
                <a:pos x="60" y="1258"/>
              </a:cxn>
              <a:cxn ang="0">
                <a:pos x="106" y="1343"/>
              </a:cxn>
              <a:cxn ang="0">
                <a:pos x="93" y="1396"/>
              </a:cxn>
              <a:cxn ang="0">
                <a:pos x="106" y="1449"/>
              </a:cxn>
              <a:cxn ang="0">
                <a:pos x="164" y="1467"/>
              </a:cxn>
              <a:cxn ang="0">
                <a:pos x="209" y="1621"/>
              </a:cxn>
              <a:cxn ang="0">
                <a:pos x="227" y="1709"/>
              </a:cxn>
              <a:cxn ang="0">
                <a:pos x="151" y="1749"/>
              </a:cxn>
              <a:cxn ang="0">
                <a:pos x="207" y="1776"/>
              </a:cxn>
              <a:cxn ang="0">
                <a:pos x="250" y="1820"/>
              </a:cxn>
              <a:cxn ang="0">
                <a:pos x="275" y="1871"/>
              </a:cxn>
              <a:cxn ang="0">
                <a:pos x="308" y="1961"/>
              </a:cxn>
              <a:cxn ang="0">
                <a:pos x="359" y="2013"/>
              </a:cxn>
              <a:cxn ang="0">
                <a:pos x="393" y="2048"/>
              </a:cxn>
              <a:cxn ang="0">
                <a:pos x="424" y="2074"/>
              </a:cxn>
              <a:cxn ang="0">
                <a:pos x="465" y="2110"/>
              </a:cxn>
              <a:cxn ang="0">
                <a:pos x="519" y="2140"/>
              </a:cxn>
              <a:cxn ang="0">
                <a:pos x="538" y="2151"/>
              </a:cxn>
              <a:cxn ang="0">
                <a:pos x="586" y="2098"/>
              </a:cxn>
              <a:cxn ang="0">
                <a:pos x="591" y="2071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057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3700464" y="3508376"/>
            <a:ext cx="966787" cy="1203325"/>
          </a:xfrm>
          <a:custGeom>
            <a:avLst/>
            <a:gdLst/>
            <a:ahLst/>
            <a:cxnLst>
              <a:cxn ang="0">
                <a:pos x="440" y="896"/>
              </a:cxn>
              <a:cxn ang="0">
                <a:pos x="505" y="985"/>
              </a:cxn>
              <a:cxn ang="0">
                <a:pos x="572" y="1054"/>
              </a:cxn>
              <a:cxn ang="0">
                <a:pos x="716" y="1098"/>
              </a:cxn>
              <a:cxn ang="0">
                <a:pos x="798" y="1204"/>
              </a:cxn>
              <a:cxn ang="0">
                <a:pos x="846" y="1292"/>
              </a:cxn>
              <a:cxn ang="0">
                <a:pos x="939" y="1355"/>
              </a:cxn>
              <a:cxn ang="0">
                <a:pos x="957" y="1466"/>
              </a:cxn>
              <a:cxn ang="0">
                <a:pos x="976" y="1541"/>
              </a:cxn>
              <a:cxn ang="0">
                <a:pos x="992" y="1632"/>
              </a:cxn>
              <a:cxn ang="0">
                <a:pos x="1131" y="1698"/>
              </a:cxn>
              <a:cxn ang="0">
                <a:pos x="1193" y="1805"/>
              </a:cxn>
              <a:cxn ang="0">
                <a:pos x="1243" y="1864"/>
              </a:cxn>
              <a:cxn ang="0">
                <a:pos x="1183" y="2003"/>
              </a:cxn>
              <a:cxn ang="0">
                <a:pos x="1084" y="2128"/>
              </a:cxn>
              <a:cxn ang="0">
                <a:pos x="1180" y="2161"/>
              </a:cxn>
              <a:cxn ang="0">
                <a:pos x="1296" y="2234"/>
              </a:cxn>
              <a:cxn ang="0">
                <a:pos x="1419" y="2198"/>
              </a:cxn>
              <a:cxn ang="0">
                <a:pos x="1518" y="2036"/>
              </a:cxn>
              <a:cxn ang="0">
                <a:pos x="1512" y="1918"/>
              </a:cxn>
              <a:cxn ang="0">
                <a:pos x="1561" y="1793"/>
              </a:cxn>
              <a:cxn ang="0">
                <a:pos x="1706" y="1727"/>
              </a:cxn>
              <a:cxn ang="0">
                <a:pos x="1798" y="1681"/>
              </a:cxn>
              <a:cxn ang="0">
                <a:pos x="1897" y="1641"/>
              </a:cxn>
              <a:cxn ang="0">
                <a:pos x="1982" y="1400"/>
              </a:cxn>
              <a:cxn ang="0">
                <a:pos x="2014" y="1288"/>
              </a:cxn>
              <a:cxn ang="0">
                <a:pos x="2002" y="1090"/>
              </a:cxn>
              <a:cxn ang="0">
                <a:pos x="2073" y="1009"/>
              </a:cxn>
              <a:cxn ang="0">
                <a:pos x="2190" y="877"/>
              </a:cxn>
              <a:cxn ang="0">
                <a:pos x="2222" y="732"/>
              </a:cxn>
              <a:cxn ang="0">
                <a:pos x="2157" y="599"/>
              </a:cxn>
              <a:cxn ang="0">
                <a:pos x="2059" y="563"/>
              </a:cxn>
              <a:cxn ang="0">
                <a:pos x="1921" y="462"/>
              </a:cxn>
              <a:cxn ang="0">
                <a:pos x="1742" y="450"/>
              </a:cxn>
              <a:cxn ang="0">
                <a:pos x="1670" y="447"/>
              </a:cxn>
              <a:cxn ang="0">
                <a:pos x="1636" y="394"/>
              </a:cxn>
              <a:cxn ang="0">
                <a:pos x="1512" y="348"/>
              </a:cxn>
              <a:cxn ang="0">
                <a:pos x="1411" y="409"/>
              </a:cxn>
              <a:cxn ang="0">
                <a:pos x="1338" y="405"/>
              </a:cxn>
              <a:cxn ang="0">
                <a:pos x="1247" y="384"/>
              </a:cxn>
              <a:cxn ang="0">
                <a:pos x="1317" y="268"/>
              </a:cxn>
              <a:cxn ang="0">
                <a:pos x="1338" y="184"/>
              </a:cxn>
              <a:cxn ang="0">
                <a:pos x="1291" y="68"/>
              </a:cxn>
              <a:cxn ang="0">
                <a:pos x="1124" y="135"/>
              </a:cxn>
              <a:cxn ang="0">
                <a:pos x="1003" y="170"/>
              </a:cxn>
              <a:cxn ang="0">
                <a:pos x="960" y="187"/>
              </a:cxn>
              <a:cxn ang="0">
                <a:pos x="812" y="176"/>
              </a:cxn>
              <a:cxn ang="0">
                <a:pos x="811" y="67"/>
              </a:cxn>
              <a:cxn ang="0">
                <a:pos x="745" y="0"/>
              </a:cxn>
              <a:cxn ang="0">
                <a:pos x="700" y="31"/>
              </a:cxn>
              <a:cxn ang="0">
                <a:pos x="589" y="70"/>
              </a:cxn>
              <a:cxn ang="0">
                <a:pos x="560" y="198"/>
              </a:cxn>
              <a:cxn ang="0">
                <a:pos x="453" y="258"/>
              </a:cxn>
              <a:cxn ang="0">
                <a:pos x="286" y="197"/>
              </a:cxn>
              <a:cxn ang="0">
                <a:pos x="253" y="240"/>
              </a:cxn>
              <a:cxn ang="0">
                <a:pos x="198" y="311"/>
              </a:cxn>
              <a:cxn ang="0">
                <a:pos x="246" y="388"/>
              </a:cxn>
              <a:cxn ang="0">
                <a:pos x="194" y="560"/>
              </a:cxn>
              <a:cxn ang="0">
                <a:pos x="100" y="567"/>
              </a:cxn>
              <a:cxn ang="0">
                <a:pos x="16" y="687"/>
              </a:cxn>
              <a:cxn ang="0">
                <a:pos x="22" y="824"/>
              </a:cxn>
              <a:cxn ang="0">
                <a:pos x="120" y="905"/>
              </a:cxn>
              <a:cxn ang="0">
                <a:pos x="191" y="949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058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5813425" y="2454276"/>
            <a:ext cx="69850" cy="49213"/>
          </a:xfrm>
          <a:custGeom>
            <a:avLst/>
            <a:gdLst/>
            <a:ahLst/>
            <a:cxnLst>
              <a:cxn ang="0">
                <a:pos x="94" y="0"/>
              </a:cxn>
              <a:cxn ang="0">
                <a:pos x="107" y="18"/>
              </a:cxn>
              <a:cxn ang="0">
                <a:pos x="112" y="12"/>
              </a:cxn>
              <a:cxn ang="0">
                <a:pos x="117" y="8"/>
              </a:cxn>
              <a:cxn ang="0">
                <a:pos x="122" y="5"/>
              </a:cxn>
              <a:cxn ang="0">
                <a:pos x="127" y="3"/>
              </a:cxn>
              <a:cxn ang="0">
                <a:pos x="137" y="1"/>
              </a:cxn>
              <a:cxn ang="0">
                <a:pos x="148" y="0"/>
              </a:cxn>
              <a:cxn ang="0">
                <a:pos x="151" y="0"/>
              </a:cxn>
              <a:cxn ang="0">
                <a:pos x="161" y="0"/>
              </a:cxn>
              <a:cxn ang="0">
                <a:pos x="161" y="92"/>
              </a:cxn>
              <a:cxn ang="0">
                <a:pos x="155" y="93"/>
              </a:cxn>
              <a:cxn ang="0">
                <a:pos x="150" y="93"/>
              </a:cxn>
              <a:cxn ang="0">
                <a:pos x="145" y="92"/>
              </a:cxn>
              <a:cxn ang="0">
                <a:pos x="140" y="91"/>
              </a:cxn>
              <a:cxn ang="0">
                <a:pos x="129" y="88"/>
              </a:cxn>
              <a:cxn ang="0">
                <a:pos x="120" y="82"/>
              </a:cxn>
              <a:cxn ang="0">
                <a:pos x="111" y="75"/>
              </a:cxn>
              <a:cxn ang="0">
                <a:pos x="104" y="67"/>
              </a:cxn>
              <a:cxn ang="0">
                <a:pos x="97" y="59"/>
              </a:cxn>
              <a:cxn ang="0">
                <a:pos x="94" y="49"/>
              </a:cxn>
              <a:cxn ang="0">
                <a:pos x="92" y="50"/>
              </a:cxn>
              <a:cxn ang="0">
                <a:pos x="89" y="51"/>
              </a:cxn>
              <a:cxn ang="0">
                <a:pos x="86" y="51"/>
              </a:cxn>
              <a:cxn ang="0">
                <a:pos x="84" y="51"/>
              </a:cxn>
              <a:cxn ang="0">
                <a:pos x="78" y="50"/>
              </a:cxn>
              <a:cxn ang="0">
                <a:pos x="74" y="49"/>
              </a:cxn>
              <a:cxn ang="0">
                <a:pos x="65" y="48"/>
              </a:cxn>
              <a:cxn ang="0">
                <a:pos x="55" y="45"/>
              </a:cxn>
              <a:cxn ang="0">
                <a:pos x="44" y="40"/>
              </a:cxn>
              <a:cxn ang="0">
                <a:pos x="32" y="34"/>
              </a:cxn>
              <a:cxn ang="0">
                <a:pos x="21" y="26"/>
              </a:cxn>
              <a:cxn ang="0">
                <a:pos x="12" y="18"/>
              </a:cxn>
              <a:cxn ang="0">
                <a:pos x="8" y="14"/>
              </a:cxn>
              <a:cxn ang="0">
                <a:pos x="5" y="9"/>
              </a:cxn>
              <a:cxn ang="0">
                <a:pos x="3" y="5"/>
              </a:cxn>
              <a:cxn ang="0">
                <a:pos x="0" y="0"/>
              </a:cxn>
              <a:cxn ang="0">
                <a:pos x="94" y="0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059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311775" y="2328864"/>
            <a:ext cx="82550" cy="160337"/>
          </a:xfrm>
          <a:custGeom>
            <a:avLst/>
            <a:gdLst/>
            <a:ahLst/>
            <a:cxnLst>
              <a:cxn ang="0">
                <a:pos x="38" y="3"/>
              </a:cxn>
              <a:cxn ang="0">
                <a:pos x="37" y="0"/>
              </a:cxn>
              <a:cxn ang="0">
                <a:pos x="57" y="3"/>
              </a:cxn>
              <a:cxn ang="0">
                <a:pos x="110" y="14"/>
              </a:cxn>
              <a:cxn ang="0">
                <a:pos x="155" y="25"/>
              </a:cxn>
              <a:cxn ang="0">
                <a:pos x="181" y="28"/>
              </a:cxn>
              <a:cxn ang="0">
                <a:pos x="192" y="35"/>
              </a:cxn>
              <a:cxn ang="0">
                <a:pos x="188" y="47"/>
              </a:cxn>
              <a:cxn ang="0">
                <a:pos x="175" y="82"/>
              </a:cxn>
              <a:cxn ang="0">
                <a:pos x="158" y="127"/>
              </a:cxn>
              <a:cxn ang="0">
                <a:pos x="147" y="165"/>
              </a:cxn>
              <a:cxn ang="0">
                <a:pos x="146" y="207"/>
              </a:cxn>
              <a:cxn ang="0">
                <a:pos x="144" y="249"/>
              </a:cxn>
              <a:cxn ang="0">
                <a:pos x="134" y="277"/>
              </a:cxn>
              <a:cxn ang="0">
                <a:pos x="106" y="296"/>
              </a:cxn>
              <a:cxn ang="0">
                <a:pos x="83" y="303"/>
              </a:cxn>
              <a:cxn ang="0">
                <a:pos x="72" y="307"/>
              </a:cxn>
              <a:cxn ang="0">
                <a:pos x="52" y="305"/>
              </a:cxn>
              <a:cxn ang="0">
                <a:pos x="32" y="291"/>
              </a:cxn>
              <a:cxn ang="0">
                <a:pos x="30" y="277"/>
              </a:cxn>
              <a:cxn ang="0">
                <a:pos x="22" y="257"/>
              </a:cxn>
              <a:cxn ang="0">
                <a:pos x="10" y="231"/>
              </a:cxn>
              <a:cxn ang="0">
                <a:pos x="2" y="211"/>
              </a:cxn>
              <a:cxn ang="0">
                <a:pos x="0" y="197"/>
              </a:cxn>
              <a:cxn ang="0">
                <a:pos x="0" y="180"/>
              </a:cxn>
              <a:cxn ang="0">
                <a:pos x="2" y="165"/>
              </a:cxn>
              <a:cxn ang="0">
                <a:pos x="11" y="145"/>
              </a:cxn>
              <a:cxn ang="0">
                <a:pos x="33" y="109"/>
              </a:cxn>
              <a:cxn ang="0">
                <a:pos x="48" y="81"/>
              </a:cxn>
              <a:cxn ang="0">
                <a:pos x="52" y="62"/>
              </a:cxn>
              <a:cxn ang="0">
                <a:pos x="53" y="41"/>
              </a:cxn>
              <a:cxn ang="0">
                <a:pos x="55" y="30"/>
              </a:cxn>
              <a:cxn ang="0">
                <a:pos x="57" y="26"/>
              </a:cxn>
              <a:cxn ang="0">
                <a:pos x="60" y="22"/>
              </a:cxn>
              <a:cxn ang="0">
                <a:pos x="44" y="7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060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5392738" y="1814514"/>
            <a:ext cx="171450" cy="269875"/>
          </a:xfrm>
          <a:custGeom>
            <a:avLst/>
            <a:gdLst/>
            <a:ahLst/>
            <a:cxnLst>
              <a:cxn ang="0">
                <a:pos x="26" y="2"/>
              </a:cxn>
              <a:cxn ang="0">
                <a:pos x="95" y="13"/>
              </a:cxn>
              <a:cxn ang="0">
                <a:pos x="116" y="23"/>
              </a:cxn>
              <a:cxn ang="0">
                <a:pos x="80" y="47"/>
              </a:cxn>
              <a:cxn ang="0">
                <a:pos x="64" y="62"/>
              </a:cxn>
              <a:cxn ang="0">
                <a:pos x="77" y="69"/>
              </a:cxn>
              <a:cxn ang="0">
                <a:pos x="167" y="79"/>
              </a:cxn>
              <a:cxn ang="0">
                <a:pos x="210" y="109"/>
              </a:cxn>
              <a:cxn ang="0">
                <a:pos x="154" y="127"/>
              </a:cxn>
              <a:cxn ang="0">
                <a:pos x="147" y="138"/>
              </a:cxn>
              <a:cxn ang="0">
                <a:pos x="191" y="143"/>
              </a:cxn>
              <a:cxn ang="0">
                <a:pos x="211" y="156"/>
              </a:cxn>
              <a:cxn ang="0">
                <a:pos x="243" y="191"/>
              </a:cxn>
              <a:cxn ang="0">
                <a:pos x="258" y="212"/>
              </a:cxn>
              <a:cxn ang="0">
                <a:pos x="260" y="237"/>
              </a:cxn>
              <a:cxn ang="0">
                <a:pos x="272" y="254"/>
              </a:cxn>
              <a:cxn ang="0">
                <a:pos x="286" y="279"/>
              </a:cxn>
              <a:cxn ang="0">
                <a:pos x="306" y="297"/>
              </a:cxn>
              <a:cxn ang="0">
                <a:pos x="327" y="320"/>
              </a:cxn>
              <a:cxn ang="0">
                <a:pos x="346" y="337"/>
              </a:cxn>
              <a:cxn ang="0">
                <a:pos x="370" y="341"/>
              </a:cxn>
              <a:cxn ang="0">
                <a:pos x="396" y="365"/>
              </a:cxn>
              <a:cxn ang="0">
                <a:pos x="395" y="395"/>
              </a:cxn>
              <a:cxn ang="0">
                <a:pos x="382" y="404"/>
              </a:cxn>
              <a:cxn ang="0">
                <a:pos x="367" y="415"/>
              </a:cxn>
              <a:cxn ang="0">
                <a:pos x="368" y="426"/>
              </a:cxn>
              <a:cxn ang="0">
                <a:pos x="376" y="443"/>
              </a:cxn>
              <a:cxn ang="0">
                <a:pos x="359" y="463"/>
              </a:cxn>
              <a:cxn ang="0">
                <a:pos x="146" y="500"/>
              </a:cxn>
              <a:cxn ang="0">
                <a:pos x="68" y="508"/>
              </a:cxn>
              <a:cxn ang="0">
                <a:pos x="53" y="518"/>
              </a:cxn>
              <a:cxn ang="0">
                <a:pos x="58" y="493"/>
              </a:cxn>
              <a:cxn ang="0">
                <a:pos x="71" y="476"/>
              </a:cxn>
              <a:cxn ang="0">
                <a:pos x="114" y="458"/>
              </a:cxn>
              <a:cxn ang="0">
                <a:pos x="172" y="439"/>
              </a:cxn>
              <a:cxn ang="0">
                <a:pos x="179" y="426"/>
              </a:cxn>
              <a:cxn ang="0">
                <a:pos x="171" y="434"/>
              </a:cxn>
              <a:cxn ang="0">
                <a:pos x="111" y="432"/>
              </a:cxn>
              <a:cxn ang="0">
                <a:pos x="76" y="420"/>
              </a:cxn>
              <a:cxn ang="0">
                <a:pos x="77" y="402"/>
              </a:cxn>
              <a:cxn ang="0">
                <a:pos x="95" y="391"/>
              </a:cxn>
              <a:cxn ang="0">
                <a:pos x="87" y="352"/>
              </a:cxn>
              <a:cxn ang="0">
                <a:pos x="105" y="329"/>
              </a:cxn>
              <a:cxn ang="0">
                <a:pos x="154" y="309"/>
              </a:cxn>
              <a:cxn ang="0">
                <a:pos x="172" y="291"/>
              </a:cxn>
              <a:cxn ang="0">
                <a:pos x="148" y="271"/>
              </a:cxn>
              <a:cxn ang="0">
                <a:pos x="139" y="247"/>
              </a:cxn>
              <a:cxn ang="0">
                <a:pos x="94" y="239"/>
              </a:cxn>
              <a:cxn ang="0">
                <a:pos x="80" y="216"/>
              </a:cxn>
              <a:cxn ang="0">
                <a:pos x="90" y="192"/>
              </a:cxn>
              <a:cxn ang="0">
                <a:pos x="100" y="168"/>
              </a:cxn>
              <a:cxn ang="0">
                <a:pos x="73" y="186"/>
              </a:cxn>
              <a:cxn ang="0">
                <a:pos x="22" y="162"/>
              </a:cxn>
              <a:cxn ang="0">
                <a:pos x="20" y="142"/>
              </a:cxn>
              <a:cxn ang="0">
                <a:pos x="14" y="131"/>
              </a:cxn>
              <a:cxn ang="0">
                <a:pos x="20" y="63"/>
              </a:cxn>
              <a:cxn ang="0">
                <a:pos x="19" y="49"/>
              </a:cxn>
              <a:cxn ang="0">
                <a:pos x="4" y="40"/>
              </a:cxn>
              <a:cxn ang="0">
                <a:pos x="20" y="19"/>
              </a:cxn>
              <a:cxn ang="0">
                <a:pos x="3" y="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61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5751513" y="2117725"/>
            <a:ext cx="169862" cy="76200"/>
          </a:xfrm>
          <a:custGeom>
            <a:avLst/>
            <a:gdLst/>
            <a:ahLst/>
            <a:cxnLst>
              <a:cxn ang="0">
                <a:pos x="190" y="21"/>
              </a:cxn>
              <a:cxn ang="0">
                <a:pos x="177" y="31"/>
              </a:cxn>
              <a:cxn ang="0">
                <a:pos x="174" y="45"/>
              </a:cxn>
              <a:cxn ang="0">
                <a:pos x="168" y="53"/>
              </a:cxn>
              <a:cxn ang="0">
                <a:pos x="166" y="61"/>
              </a:cxn>
              <a:cxn ang="0">
                <a:pos x="177" y="74"/>
              </a:cxn>
              <a:cxn ang="0">
                <a:pos x="155" y="86"/>
              </a:cxn>
              <a:cxn ang="0">
                <a:pos x="108" y="96"/>
              </a:cxn>
              <a:cxn ang="0">
                <a:pos x="77" y="97"/>
              </a:cxn>
              <a:cxn ang="0">
                <a:pos x="52" y="95"/>
              </a:cxn>
              <a:cxn ang="0">
                <a:pos x="4" y="111"/>
              </a:cxn>
              <a:cxn ang="0">
                <a:pos x="0" y="129"/>
              </a:cxn>
              <a:cxn ang="0">
                <a:pos x="4" y="131"/>
              </a:cxn>
              <a:cxn ang="0">
                <a:pos x="12" y="131"/>
              </a:cxn>
              <a:cxn ang="0">
                <a:pos x="51" y="129"/>
              </a:cxn>
              <a:cxn ang="0">
                <a:pos x="114" y="127"/>
              </a:cxn>
              <a:cxn ang="0">
                <a:pos x="123" y="134"/>
              </a:cxn>
              <a:cxn ang="0">
                <a:pos x="137" y="141"/>
              </a:cxn>
              <a:cxn ang="0">
                <a:pos x="159" y="147"/>
              </a:cxn>
              <a:cxn ang="0">
                <a:pos x="185" y="148"/>
              </a:cxn>
              <a:cxn ang="0">
                <a:pos x="210" y="148"/>
              </a:cxn>
              <a:cxn ang="0">
                <a:pos x="233" y="148"/>
              </a:cxn>
              <a:cxn ang="0">
                <a:pos x="255" y="148"/>
              </a:cxn>
              <a:cxn ang="0">
                <a:pos x="275" y="143"/>
              </a:cxn>
              <a:cxn ang="0">
                <a:pos x="301" y="134"/>
              </a:cxn>
              <a:cxn ang="0">
                <a:pos x="334" y="121"/>
              </a:cxn>
              <a:cxn ang="0">
                <a:pos x="353" y="103"/>
              </a:cxn>
              <a:cxn ang="0">
                <a:pos x="372" y="72"/>
              </a:cxn>
              <a:cxn ang="0">
                <a:pos x="376" y="52"/>
              </a:cxn>
              <a:cxn ang="0">
                <a:pos x="363" y="44"/>
              </a:cxn>
              <a:cxn ang="0">
                <a:pos x="357" y="32"/>
              </a:cxn>
              <a:cxn ang="0">
                <a:pos x="347" y="22"/>
              </a:cxn>
              <a:cxn ang="0">
                <a:pos x="334" y="17"/>
              </a:cxn>
              <a:cxn ang="0">
                <a:pos x="319" y="8"/>
              </a:cxn>
              <a:cxn ang="0">
                <a:pos x="203" y="18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062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7243763" y="1966914"/>
            <a:ext cx="1281112" cy="1038225"/>
          </a:xfrm>
          <a:custGeom>
            <a:avLst/>
            <a:gdLst/>
            <a:ahLst/>
            <a:cxnLst>
              <a:cxn ang="0">
                <a:pos x="373" y="1071"/>
              </a:cxn>
              <a:cxn ang="0">
                <a:pos x="385" y="1182"/>
              </a:cxn>
              <a:cxn ang="0">
                <a:pos x="478" y="1358"/>
              </a:cxn>
              <a:cxn ang="0">
                <a:pos x="768" y="1492"/>
              </a:cxn>
              <a:cxn ang="0">
                <a:pos x="1036" y="1552"/>
              </a:cxn>
              <a:cxn ang="0">
                <a:pos x="1124" y="1529"/>
              </a:cxn>
              <a:cxn ang="0">
                <a:pos x="1401" y="1448"/>
              </a:cxn>
              <a:cxn ang="0">
                <a:pos x="1547" y="1542"/>
              </a:cxn>
              <a:cxn ang="0">
                <a:pos x="1577" y="1697"/>
              </a:cxn>
              <a:cxn ang="0">
                <a:pos x="1607" y="1773"/>
              </a:cxn>
              <a:cxn ang="0">
                <a:pos x="1706" y="1912"/>
              </a:cxn>
              <a:cxn ang="0">
                <a:pos x="1842" y="1859"/>
              </a:cxn>
              <a:cxn ang="0">
                <a:pos x="2072" y="1854"/>
              </a:cxn>
              <a:cxn ang="0">
                <a:pos x="2265" y="1983"/>
              </a:cxn>
              <a:cxn ang="0">
                <a:pos x="2357" y="1910"/>
              </a:cxn>
              <a:cxn ang="0">
                <a:pos x="2457" y="1866"/>
              </a:cxn>
              <a:cxn ang="0">
                <a:pos x="2546" y="1826"/>
              </a:cxn>
              <a:cxn ang="0">
                <a:pos x="2683" y="1732"/>
              </a:cxn>
              <a:cxn ang="0">
                <a:pos x="2719" y="1616"/>
              </a:cxn>
              <a:cxn ang="0">
                <a:pos x="2794" y="1420"/>
              </a:cxn>
              <a:cxn ang="0">
                <a:pos x="2705" y="1375"/>
              </a:cxn>
              <a:cxn ang="0">
                <a:pos x="2640" y="1273"/>
              </a:cxn>
              <a:cxn ang="0">
                <a:pos x="2669" y="1227"/>
              </a:cxn>
              <a:cxn ang="0">
                <a:pos x="2532" y="1061"/>
              </a:cxn>
              <a:cxn ang="0">
                <a:pos x="2583" y="993"/>
              </a:cxn>
              <a:cxn ang="0">
                <a:pos x="2453" y="962"/>
              </a:cxn>
              <a:cxn ang="0">
                <a:pos x="2333" y="887"/>
              </a:cxn>
              <a:cxn ang="0">
                <a:pos x="2368" y="836"/>
              </a:cxn>
              <a:cxn ang="0">
                <a:pos x="2443" y="756"/>
              </a:cxn>
              <a:cxn ang="0">
                <a:pos x="2496" y="780"/>
              </a:cxn>
              <a:cxn ang="0">
                <a:pos x="2532" y="853"/>
              </a:cxn>
              <a:cxn ang="0">
                <a:pos x="2689" y="763"/>
              </a:cxn>
              <a:cxn ang="0">
                <a:pos x="2828" y="673"/>
              </a:cxn>
              <a:cxn ang="0">
                <a:pos x="2886" y="564"/>
              </a:cxn>
              <a:cxn ang="0">
                <a:pos x="2928" y="494"/>
              </a:cxn>
              <a:cxn ang="0">
                <a:pos x="2893" y="307"/>
              </a:cxn>
              <a:cxn ang="0">
                <a:pos x="2722" y="341"/>
              </a:cxn>
              <a:cxn ang="0">
                <a:pos x="2461" y="205"/>
              </a:cxn>
              <a:cxn ang="0">
                <a:pos x="2300" y="89"/>
              </a:cxn>
              <a:cxn ang="0">
                <a:pos x="1980" y="53"/>
              </a:cxn>
              <a:cxn ang="0">
                <a:pos x="2007" y="155"/>
              </a:cxn>
              <a:cxn ang="0">
                <a:pos x="1952" y="227"/>
              </a:cxn>
              <a:cxn ang="0">
                <a:pos x="2025" y="350"/>
              </a:cxn>
              <a:cxn ang="0">
                <a:pos x="2146" y="370"/>
              </a:cxn>
              <a:cxn ang="0">
                <a:pos x="2041" y="455"/>
              </a:cxn>
              <a:cxn ang="0">
                <a:pos x="1891" y="570"/>
              </a:cxn>
              <a:cxn ang="0">
                <a:pos x="1630" y="713"/>
              </a:cxn>
              <a:cxn ang="0">
                <a:pos x="1228" y="659"/>
              </a:cxn>
              <a:cxn ang="0">
                <a:pos x="1036" y="560"/>
              </a:cxn>
              <a:cxn ang="0">
                <a:pos x="752" y="495"/>
              </a:cxn>
              <a:cxn ang="0">
                <a:pos x="686" y="379"/>
              </a:cxn>
              <a:cxn ang="0">
                <a:pos x="512" y="299"/>
              </a:cxn>
              <a:cxn ang="0">
                <a:pos x="430" y="311"/>
              </a:cxn>
              <a:cxn ang="0">
                <a:pos x="423" y="388"/>
              </a:cxn>
              <a:cxn ang="0">
                <a:pos x="305" y="382"/>
              </a:cxn>
              <a:cxn ang="0">
                <a:pos x="227" y="507"/>
              </a:cxn>
              <a:cxn ang="0">
                <a:pos x="260" y="595"/>
              </a:cxn>
              <a:cxn ang="0">
                <a:pos x="252" y="716"/>
              </a:cxn>
              <a:cxn ang="0">
                <a:pos x="118" y="781"/>
              </a:cxn>
              <a:cxn ang="0">
                <a:pos x="40" y="894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63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935663" y="1508125"/>
            <a:ext cx="220662" cy="273050"/>
          </a:xfrm>
          <a:custGeom>
            <a:avLst/>
            <a:gdLst/>
            <a:ahLst/>
            <a:cxnLst>
              <a:cxn ang="0">
                <a:pos x="345" y="493"/>
              </a:cxn>
              <a:cxn ang="0">
                <a:pos x="256" y="505"/>
              </a:cxn>
              <a:cxn ang="0">
                <a:pos x="235" y="517"/>
              </a:cxn>
              <a:cxn ang="0">
                <a:pos x="210" y="522"/>
              </a:cxn>
              <a:cxn ang="0">
                <a:pos x="155" y="524"/>
              </a:cxn>
              <a:cxn ang="0">
                <a:pos x="106" y="522"/>
              </a:cxn>
              <a:cxn ang="0">
                <a:pos x="94" y="516"/>
              </a:cxn>
              <a:cxn ang="0">
                <a:pos x="71" y="509"/>
              </a:cxn>
              <a:cxn ang="0">
                <a:pos x="36" y="496"/>
              </a:cxn>
              <a:cxn ang="0">
                <a:pos x="22" y="486"/>
              </a:cxn>
              <a:cxn ang="0">
                <a:pos x="20" y="477"/>
              </a:cxn>
              <a:cxn ang="0">
                <a:pos x="27" y="463"/>
              </a:cxn>
              <a:cxn ang="0">
                <a:pos x="32" y="445"/>
              </a:cxn>
              <a:cxn ang="0">
                <a:pos x="28" y="432"/>
              </a:cxn>
              <a:cxn ang="0">
                <a:pos x="10" y="417"/>
              </a:cxn>
              <a:cxn ang="0">
                <a:pos x="1" y="407"/>
              </a:cxn>
              <a:cxn ang="0">
                <a:pos x="1" y="391"/>
              </a:cxn>
              <a:cxn ang="0">
                <a:pos x="17" y="360"/>
              </a:cxn>
              <a:cxn ang="0">
                <a:pos x="48" y="328"/>
              </a:cxn>
              <a:cxn ang="0">
                <a:pos x="86" y="299"/>
              </a:cxn>
              <a:cxn ang="0">
                <a:pos x="124" y="279"/>
              </a:cxn>
              <a:cxn ang="0">
                <a:pos x="160" y="272"/>
              </a:cxn>
              <a:cxn ang="0">
                <a:pos x="155" y="264"/>
              </a:cxn>
              <a:cxn ang="0">
                <a:pos x="142" y="259"/>
              </a:cxn>
              <a:cxn ang="0">
                <a:pos x="133" y="251"/>
              </a:cxn>
              <a:cxn ang="0">
                <a:pos x="127" y="229"/>
              </a:cxn>
              <a:cxn ang="0">
                <a:pos x="124" y="195"/>
              </a:cxn>
              <a:cxn ang="0">
                <a:pos x="115" y="161"/>
              </a:cxn>
              <a:cxn ang="0">
                <a:pos x="100" y="134"/>
              </a:cxn>
              <a:cxn ang="0">
                <a:pos x="68" y="90"/>
              </a:cxn>
              <a:cxn ang="0">
                <a:pos x="86" y="60"/>
              </a:cxn>
              <a:cxn ang="0">
                <a:pos x="106" y="56"/>
              </a:cxn>
              <a:cxn ang="0">
                <a:pos x="130" y="58"/>
              </a:cxn>
              <a:cxn ang="0">
                <a:pos x="139" y="61"/>
              </a:cxn>
              <a:cxn ang="0">
                <a:pos x="160" y="56"/>
              </a:cxn>
              <a:cxn ang="0">
                <a:pos x="164" y="33"/>
              </a:cxn>
              <a:cxn ang="0">
                <a:pos x="171" y="13"/>
              </a:cxn>
              <a:cxn ang="0">
                <a:pos x="187" y="0"/>
              </a:cxn>
              <a:cxn ang="0">
                <a:pos x="225" y="0"/>
              </a:cxn>
              <a:cxn ang="0">
                <a:pos x="254" y="8"/>
              </a:cxn>
              <a:cxn ang="0">
                <a:pos x="280" y="21"/>
              </a:cxn>
              <a:cxn ang="0">
                <a:pos x="279" y="62"/>
              </a:cxn>
              <a:cxn ang="0">
                <a:pos x="292" y="77"/>
              </a:cxn>
              <a:cxn ang="0">
                <a:pos x="319" y="94"/>
              </a:cxn>
              <a:cxn ang="0">
                <a:pos x="356" y="119"/>
              </a:cxn>
              <a:cxn ang="0">
                <a:pos x="346" y="135"/>
              </a:cxn>
              <a:cxn ang="0">
                <a:pos x="340" y="153"/>
              </a:cxn>
              <a:cxn ang="0">
                <a:pos x="344" y="176"/>
              </a:cxn>
              <a:cxn ang="0">
                <a:pos x="363" y="200"/>
              </a:cxn>
              <a:cxn ang="0">
                <a:pos x="378" y="210"/>
              </a:cxn>
              <a:cxn ang="0">
                <a:pos x="386" y="256"/>
              </a:cxn>
              <a:cxn ang="0">
                <a:pos x="404" y="289"/>
              </a:cxn>
              <a:cxn ang="0">
                <a:pos x="432" y="315"/>
              </a:cxn>
              <a:cxn ang="0">
                <a:pos x="463" y="335"/>
              </a:cxn>
              <a:cxn ang="0">
                <a:pos x="466" y="390"/>
              </a:cxn>
              <a:cxn ang="0">
                <a:pos x="397" y="457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064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5672138" y="1925639"/>
            <a:ext cx="182562" cy="238125"/>
          </a:xfrm>
          <a:custGeom>
            <a:avLst/>
            <a:gdLst/>
            <a:ahLst/>
            <a:cxnLst>
              <a:cxn ang="0">
                <a:pos x="426" y="190"/>
              </a:cxn>
              <a:cxn ang="0">
                <a:pos x="408" y="128"/>
              </a:cxn>
              <a:cxn ang="0">
                <a:pos x="387" y="85"/>
              </a:cxn>
              <a:cxn ang="0">
                <a:pos x="367" y="62"/>
              </a:cxn>
              <a:cxn ang="0">
                <a:pos x="356" y="58"/>
              </a:cxn>
              <a:cxn ang="0">
                <a:pos x="335" y="45"/>
              </a:cxn>
              <a:cxn ang="0">
                <a:pos x="314" y="38"/>
              </a:cxn>
              <a:cxn ang="0">
                <a:pos x="293" y="38"/>
              </a:cxn>
              <a:cxn ang="0">
                <a:pos x="276" y="42"/>
              </a:cxn>
              <a:cxn ang="0">
                <a:pos x="251" y="58"/>
              </a:cxn>
              <a:cxn ang="0">
                <a:pos x="235" y="67"/>
              </a:cxn>
              <a:cxn ang="0">
                <a:pos x="217" y="66"/>
              </a:cxn>
              <a:cxn ang="0">
                <a:pos x="174" y="37"/>
              </a:cxn>
              <a:cxn ang="0">
                <a:pos x="113" y="0"/>
              </a:cxn>
              <a:cxn ang="0">
                <a:pos x="95" y="23"/>
              </a:cxn>
              <a:cxn ang="0">
                <a:pos x="93" y="43"/>
              </a:cxn>
              <a:cxn ang="0">
                <a:pos x="98" y="52"/>
              </a:cxn>
              <a:cxn ang="0">
                <a:pos x="119" y="69"/>
              </a:cxn>
              <a:cxn ang="0">
                <a:pos x="99" y="73"/>
              </a:cxn>
              <a:cxn ang="0">
                <a:pos x="66" y="93"/>
              </a:cxn>
              <a:cxn ang="0">
                <a:pos x="58" y="119"/>
              </a:cxn>
              <a:cxn ang="0">
                <a:pos x="45" y="138"/>
              </a:cxn>
              <a:cxn ang="0">
                <a:pos x="35" y="156"/>
              </a:cxn>
              <a:cxn ang="0">
                <a:pos x="33" y="179"/>
              </a:cxn>
              <a:cxn ang="0">
                <a:pos x="7" y="238"/>
              </a:cxn>
              <a:cxn ang="0">
                <a:pos x="15" y="246"/>
              </a:cxn>
              <a:cxn ang="0">
                <a:pos x="26" y="247"/>
              </a:cxn>
              <a:cxn ang="0">
                <a:pos x="33" y="346"/>
              </a:cxn>
              <a:cxn ang="0">
                <a:pos x="93" y="353"/>
              </a:cxn>
              <a:cxn ang="0">
                <a:pos x="104" y="376"/>
              </a:cxn>
              <a:cxn ang="0">
                <a:pos x="89" y="425"/>
              </a:cxn>
              <a:cxn ang="0">
                <a:pos x="109" y="447"/>
              </a:cxn>
              <a:cxn ang="0">
                <a:pos x="152" y="447"/>
              </a:cxn>
              <a:cxn ang="0">
                <a:pos x="205" y="444"/>
              </a:cxn>
              <a:cxn ang="0">
                <a:pos x="276" y="446"/>
              </a:cxn>
              <a:cxn ang="0">
                <a:pos x="343" y="442"/>
              </a:cxn>
              <a:cxn ang="0">
                <a:pos x="372" y="432"/>
              </a:cxn>
              <a:cxn ang="0">
                <a:pos x="359" y="413"/>
              </a:cxn>
              <a:cxn ang="0">
                <a:pos x="369" y="403"/>
              </a:cxn>
              <a:cxn ang="0">
                <a:pos x="372" y="382"/>
              </a:cxn>
              <a:cxn ang="0">
                <a:pos x="380" y="367"/>
              </a:cxn>
              <a:cxn ang="0">
                <a:pos x="343" y="344"/>
              </a:cxn>
              <a:cxn ang="0">
                <a:pos x="325" y="323"/>
              </a:cxn>
              <a:cxn ang="0">
                <a:pos x="311" y="294"/>
              </a:cxn>
              <a:cxn ang="0">
                <a:pos x="294" y="277"/>
              </a:cxn>
              <a:cxn ang="0">
                <a:pos x="314" y="275"/>
              </a:cxn>
              <a:cxn ang="0">
                <a:pos x="346" y="271"/>
              </a:cxn>
              <a:cxn ang="0">
                <a:pos x="369" y="260"/>
              </a:cxn>
              <a:cxn ang="0">
                <a:pos x="407" y="240"/>
              </a:cxn>
              <a:cxn ang="0">
                <a:pos x="438" y="235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065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5697539" y="2182814"/>
            <a:ext cx="250825" cy="274637"/>
          </a:xfrm>
          <a:custGeom>
            <a:avLst/>
            <a:gdLst/>
            <a:ahLst/>
            <a:cxnLst>
              <a:cxn ang="0">
                <a:pos x="327" y="88"/>
              </a:cxn>
              <a:cxn ang="0">
                <a:pos x="312" y="85"/>
              </a:cxn>
              <a:cxn ang="0">
                <a:pos x="301" y="79"/>
              </a:cxn>
              <a:cxn ang="0">
                <a:pos x="275" y="66"/>
              </a:cxn>
              <a:cxn ang="0">
                <a:pos x="251" y="78"/>
              </a:cxn>
              <a:cxn ang="0">
                <a:pos x="246" y="105"/>
              </a:cxn>
              <a:cxn ang="0">
                <a:pos x="253" y="153"/>
              </a:cxn>
              <a:cxn ang="0">
                <a:pos x="270" y="172"/>
              </a:cxn>
              <a:cxn ang="0">
                <a:pos x="287" y="178"/>
              </a:cxn>
              <a:cxn ang="0">
                <a:pos x="298" y="191"/>
              </a:cxn>
              <a:cxn ang="0">
                <a:pos x="351" y="225"/>
              </a:cxn>
              <a:cxn ang="0">
                <a:pos x="449" y="309"/>
              </a:cxn>
              <a:cxn ang="0">
                <a:pos x="477" y="322"/>
              </a:cxn>
              <a:cxn ang="0">
                <a:pos x="504" y="328"/>
              </a:cxn>
              <a:cxn ang="0">
                <a:pos x="536" y="356"/>
              </a:cxn>
              <a:cxn ang="0">
                <a:pos x="578" y="376"/>
              </a:cxn>
              <a:cxn ang="0">
                <a:pos x="565" y="407"/>
              </a:cxn>
              <a:cxn ang="0">
                <a:pos x="526" y="383"/>
              </a:cxn>
              <a:cxn ang="0">
                <a:pos x="508" y="376"/>
              </a:cxn>
              <a:cxn ang="0">
                <a:pos x="498" y="397"/>
              </a:cxn>
              <a:cxn ang="0">
                <a:pos x="506" y="426"/>
              </a:cxn>
              <a:cxn ang="0">
                <a:pos x="514" y="442"/>
              </a:cxn>
              <a:cxn ang="0">
                <a:pos x="500" y="468"/>
              </a:cxn>
              <a:cxn ang="0">
                <a:pos x="483" y="505"/>
              </a:cxn>
              <a:cxn ang="0">
                <a:pos x="465" y="522"/>
              </a:cxn>
              <a:cxn ang="0">
                <a:pos x="436" y="505"/>
              </a:cxn>
              <a:cxn ang="0">
                <a:pos x="456" y="484"/>
              </a:cxn>
              <a:cxn ang="0">
                <a:pos x="465" y="467"/>
              </a:cxn>
              <a:cxn ang="0">
                <a:pos x="461" y="441"/>
              </a:cxn>
              <a:cxn ang="0">
                <a:pos x="427" y="395"/>
              </a:cxn>
              <a:cxn ang="0">
                <a:pos x="385" y="369"/>
              </a:cxn>
              <a:cxn ang="0">
                <a:pos x="355" y="356"/>
              </a:cxn>
              <a:cxn ang="0">
                <a:pos x="318" y="330"/>
              </a:cxn>
              <a:cxn ang="0">
                <a:pos x="268" y="315"/>
              </a:cxn>
              <a:cxn ang="0">
                <a:pos x="218" y="285"/>
              </a:cxn>
              <a:cxn ang="0">
                <a:pos x="162" y="229"/>
              </a:cxn>
              <a:cxn ang="0">
                <a:pos x="126" y="168"/>
              </a:cxn>
              <a:cxn ang="0">
                <a:pos x="77" y="154"/>
              </a:cxn>
              <a:cxn ang="0">
                <a:pos x="51" y="157"/>
              </a:cxn>
              <a:cxn ang="0">
                <a:pos x="15" y="165"/>
              </a:cxn>
              <a:cxn ang="0">
                <a:pos x="3" y="133"/>
              </a:cxn>
              <a:cxn ang="0">
                <a:pos x="1" y="93"/>
              </a:cxn>
              <a:cxn ang="0">
                <a:pos x="6" y="49"/>
              </a:cxn>
              <a:cxn ang="0">
                <a:pos x="45" y="41"/>
              </a:cxn>
              <a:cxn ang="0">
                <a:pos x="68" y="33"/>
              </a:cxn>
              <a:cxn ang="0">
                <a:pos x="83" y="48"/>
              </a:cxn>
              <a:cxn ang="0">
                <a:pos x="104" y="44"/>
              </a:cxn>
              <a:cxn ang="0">
                <a:pos x="149" y="16"/>
              </a:cxn>
              <a:cxn ang="0">
                <a:pos x="239" y="0"/>
              </a:cxn>
              <a:cxn ang="0">
                <a:pos x="257" y="13"/>
              </a:cxn>
              <a:cxn ang="0">
                <a:pos x="332" y="19"/>
              </a:cxn>
              <a:cxn ang="0">
                <a:pos x="322" y="65"/>
              </a:cxn>
              <a:cxn ang="0">
                <a:pos x="325" y="90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066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5715000" y="2351088"/>
            <a:ext cx="33338" cy="82550"/>
          </a:xfrm>
          <a:custGeom>
            <a:avLst/>
            <a:gdLst/>
            <a:ahLst/>
            <a:cxnLst>
              <a:cxn ang="0">
                <a:pos x="0" y="37"/>
              </a:cxn>
              <a:cxn ang="0">
                <a:pos x="6" y="37"/>
              </a:cxn>
              <a:cxn ang="0">
                <a:pos x="11" y="36"/>
              </a:cxn>
              <a:cxn ang="0">
                <a:pos x="16" y="35"/>
              </a:cxn>
              <a:cxn ang="0">
                <a:pos x="19" y="33"/>
              </a:cxn>
              <a:cxn ang="0">
                <a:pos x="26" y="28"/>
              </a:cxn>
              <a:cxn ang="0">
                <a:pos x="31" y="22"/>
              </a:cxn>
              <a:cxn ang="0">
                <a:pos x="37" y="16"/>
              </a:cxn>
              <a:cxn ang="0">
                <a:pos x="41" y="10"/>
              </a:cxn>
              <a:cxn ang="0">
                <a:pos x="46" y="5"/>
              </a:cxn>
              <a:cxn ang="0">
                <a:pos x="53" y="0"/>
              </a:cxn>
              <a:cxn ang="0">
                <a:pos x="57" y="3"/>
              </a:cxn>
              <a:cxn ang="0">
                <a:pos x="62" y="7"/>
              </a:cxn>
              <a:cxn ang="0">
                <a:pos x="64" y="10"/>
              </a:cxn>
              <a:cxn ang="0">
                <a:pos x="66" y="14"/>
              </a:cxn>
              <a:cxn ang="0">
                <a:pos x="69" y="22"/>
              </a:cxn>
              <a:cxn ang="0">
                <a:pos x="72" y="32"/>
              </a:cxn>
              <a:cxn ang="0">
                <a:pos x="73" y="40"/>
              </a:cxn>
              <a:cxn ang="0">
                <a:pos x="74" y="49"/>
              </a:cxn>
              <a:cxn ang="0">
                <a:pos x="76" y="58"/>
              </a:cxn>
              <a:cxn ang="0">
                <a:pos x="79" y="67"/>
              </a:cxn>
              <a:cxn ang="0">
                <a:pos x="79" y="98"/>
              </a:cxn>
              <a:cxn ang="0">
                <a:pos x="68" y="115"/>
              </a:cxn>
              <a:cxn ang="0">
                <a:pos x="59" y="129"/>
              </a:cxn>
              <a:cxn ang="0">
                <a:pos x="53" y="136"/>
              </a:cxn>
              <a:cxn ang="0">
                <a:pos x="50" y="144"/>
              </a:cxn>
              <a:cxn ang="0">
                <a:pos x="48" y="151"/>
              </a:cxn>
              <a:cxn ang="0">
                <a:pos x="46" y="160"/>
              </a:cxn>
              <a:cxn ang="0">
                <a:pos x="40" y="155"/>
              </a:cxn>
              <a:cxn ang="0">
                <a:pos x="33" y="150"/>
              </a:cxn>
              <a:cxn ang="0">
                <a:pos x="28" y="144"/>
              </a:cxn>
              <a:cxn ang="0">
                <a:pos x="22" y="137"/>
              </a:cxn>
              <a:cxn ang="0">
                <a:pos x="18" y="130"/>
              </a:cxn>
              <a:cxn ang="0">
                <a:pos x="15" y="123"/>
              </a:cxn>
              <a:cxn ang="0">
                <a:pos x="11" y="115"/>
              </a:cxn>
              <a:cxn ang="0">
                <a:pos x="8" y="108"/>
              </a:cxn>
              <a:cxn ang="0">
                <a:pos x="4" y="91"/>
              </a:cxn>
              <a:cxn ang="0">
                <a:pos x="1" y="73"/>
              </a:cxn>
              <a:cxn ang="0">
                <a:pos x="0" y="55"/>
              </a:cxn>
              <a:cxn ang="0">
                <a:pos x="0" y="37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grpSp>
        <p:nvGrpSpPr>
          <p:cNvPr id="2067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8034339" y="3411539"/>
            <a:ext cx="473075" cy="212725"/>
            <a:chOff x="4488" y="2394"/>
            <a:chExt cx="358" cy="124"/>
          </a:xfrm>
        </p:grpSpPr>
        <p:sp>
          <p:nvSpPr>
            <p:cNvPr id="2068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/>
              <a:ahLst/>
              <a:cxnLst>
                <a:cxn ang="0">
                  <a:pos x="424" y="198"/>
                </a:cxn>
                <a:cxn ang="0">
                  <a:pos x="387" y="193"/>
                </a:cxn>
                <a:cxn ang="0">
                  <a:pos x="367" y="203"/>
                </a:cxn>
                <a:cxn ang="0">
                  <a:pos x="354" y="217"/>
                </a:cxn>
                <a:cxn ang="0">
                  <a:pos x="347" y="254"/>
                </a:cxn>
                <a:cxn ang="0">
                  <a:pos x="327" y="306"/>
                </a:cxn>
                <a:cxn ang="0">
                  <a:pos x="305" y="335"/>
                </a:cxn>
                <a:cxn ang="0">
                  <a:pos x="289" y="350"/>
                </a:cxn>
                <a:cxn ang="0">
                  <a:pos x="271" y="359"/>
                </a:cxn>
                <a:cxn ang="0">
                  <a:pos x="256" y="368"/>
                </a:cxn>
                <a:cxn ang="0">
                  <a:pos x="253" y="376"/>
                </a:cxn>
                <a:cxn ang="0">
                  <a:pos x="215" y="370"/>
                </a:cxn>
                <a:cxn ang="0">
                  <a:pos x="183" y="367"/>
                </a:cxn>
                <a:cxn ang="0">
                  <a:pos x="155" y="373"/>
                </a:cxn>
                <a:cxn ang="0">
                  <a:pos x="138" y="388"/>
                </a:cxn>
                <a:cxn ang="0">
                  <a:pos x="97" y="405"/>
                </a:cxn>
                <a:cxn ang="0">
                  <a:pos x="62" y="407"/>
                </a:cxn>
                <a:cxn ang="0">
                  <a:pos x="45" y="400"/>
                </a:cxn>
                <a:cxn ang="0">
                  <a:pos x="15" y="368"/>
                </a:cxn>
                <a:cxn ang="0">
                  <a:pos x="2" y="344"/>
                </a:cxn>
                <a:cxn ang="0">
                  <a:pos x="8" y="335"/>
                </a:cxn>
                <a:cxn ang="0">
                  <a:pos x="34" y="344"/>
                </a:cxn>
                <a:cxn ang="0">
                  <a:pos x="53" y="336"/>
                </a:cxn>
                <a:cxn ang="0">
                  <a:pos x="56" y="314"/>
                </a:cxn>
                <a:cxn ang="0">
                  <a:pos x="71" y="300"/>
                </a:cxn>
                <a:cxn ang="0">
                  <a:pos x="82" y="286"/>
                </a:cxn>
                <a:cxn ang="0">
                  <a:pos x="89" y="272"/>
                </a:cxn>
                <a:cxn ang="0">
                  <a:pos x="101" y="262"/>
                </a:cxn>
                <a:cxn ang="0">
                  <a:pos x="137" y="246"/>
                </a:cxn>
                <a:cxn ang="0">
                  <a:pos x="175" y="232"/>
                </a:cxn>
                <a:cxn ang="0">
                  <a:pos x="202" y="217"/>
                </a:cxn>
                <a:cxn ang="0">
                  <a:pos x="213" y="205"/>
                </a:cxn>
                <a:cxn ang="0">
                  <a:pos x="219" y="191"/>
                </a:cxn>
                <a:cxn ang="0">
                  <a:pos x="227" y="161"/>
                </a:cxn>
                <a:cxn ang="0">
                  <a:pos x="229" y="149"/>
                </a:cxn>
                <a:cxn ang="0">
                  <a:pos x="231" y="152"/>
                </a:cxn>
                <a:cxn ang="0">
                  <a:pos x="239" y="143"/>
                </a:cxn>
                <a:cxn ang="0">
                  <a:pos x="237" y="155"/>
                </a:cxn>
                <a:cxn ang="0">
                  <a:pos x="240" y="174"/>
                </a:cxn>
                <a:cxn ang="0">
                  <a:pos x="251" y="193"/>
                </a:cxn>
                <a:cxn ang="0">
                  <a:pos x="272" y="205"/>
                </a:cxn>
                <a:cxn ang="0">
                  <a:pos x="306" y="204"/>
                </a:cxn>
                <a:cxn ang="0">
                  <a:pos x="320" y="205"/>
                </a:cxn>
                <a:cxn ang="0">
                  <a:pos x="327" y="198"/>
                </a:cxn>
                <a:cxn ang="0">
                  <a:pos x="324" y="176"/>
                </a:cxn>
                <a:cxn ang="0">
                  <a:pos x="299" y="130"/>
                </a:cxn>
                <a:cxn ang="0">
                  <a:pos x="319" y="109"/>
                </a:cxn>
                <a:cxn ang="0">
                  <a:pos x="344" y="66"/>
                </a:cxn>
                <a:cxn ang="0">
                  <a:pos x="374" y="22"/>
                </a:cxn>
                <a:cxn ang="0">
                  <a:pos x="399" y="0"/>
                </a:cxn>
                <a:cxn ang="0">
                  <a:pos x="401" y="23"/>
                </a:cxn>
                <a:cxn ang="0">
                  <a:pos x="413" y="50"/>
                </a:cxn>
                <a:cxn ang="0">
                  <a:pos x="439" y="75"/>
                </a:cxn>
                <a:cxn ang="0">
                  <a:pos x="486" y="106"/>
                </a:cxn>
                <a:cxn ang="0">
                  <a:pos x="508" y="132"/>
                </a:cxn>
                <a:cxn ang="0">
                  <a:pos x="499" y="149"/>
                </a:cxn>
                <a:cxn ang="0">
                  <a:pos x="478" y="152"/>
                </a:cxn>
                <a:cxn ang="0">
                  <a:pos x="458" y="180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069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/>
              <a:ahLst/>
              <a:cxnLst>
                <a:cxn ang="0">
                  <a:pos x="151" y="24"/>
                </a:cxn>
                <a:cxn ang="0">
                  <a:pos x="165" y="48"/>
                </a:cxn>
                <a:cxn ang="0">
                  <a:pos x="174" y="56"/>
                </a:cxn>
                <a:cxn ang="0">
                  <a:pos x="181" y="60"/>
                </a:cxn>
                <a:cxn ang="0">
                  <a:pos x="186" y="166"/>
                </a:cxn>
                <a:cxn ang="0">
                  <a:pos x="189" y="196"/>
                </a:cxn>
                <a:cxn ang="0">
                  <a:pos x="193" y="207"/>
                </a:cxn>
                <a:cxn ang="0">
                  <a:pos x="199" y="216"/>
                </a:cxn>
                <a:cxn ang="0">
                  <a:pos x="232" y="246"/>
                </a:cxn>
                <a:cxn ang="0">
                  <a:pos x="219" y="288"/>
                </a:cxn>
                <a:cxn ang="0">
                  <a:pos x="186" y="282"/>
                </a:cxn>
                <a:cxn ang="0">
                  <a:pos x="151" y="264"/>
                </a:cxn>
                <a:cxn ang="0">
                  <a:pos x="113" y="235"/>
                </a:cxn>
                <a:cxn ang="0">
                  <a:pos x="81" y="207"/>
                </a:cxn>
                <a:cxn ang="0">
                  <a:pos x="56" y="176"/>
                </a:cxn>
                <a:cxn ang="0">
                  <a:pos x="31" y="145"/>
                </a:cxn>
                <a:cxn ang="0">
                  <a:pos x="9" y="126"/>
                </a:cxn>
                <a:cxn ang="0">
                  <a:pos x="2" y="117"/>
                </a:cxn>
                <a:cxn ang="0">
                  <a:pos x="0" y="109"/>
                </a:cxn>
                <a:cxn ang="0">
                  <a:pos x="0" y="100"/>
                </a:cxn>
                <a:cxn ang="0">
                  <a:pos x="3" y="92"/>
                </a:cxn>
                <a:cxn ang="0">
                  <a:pos x="11" y="79"/>
                </a:cxn>
                <a:cxn ang="0">
                  <a:pos x="12" y="52"/>
                </a:cxn>
                <a:cxn ang="0">
                  <a:pos x="7" y="15"/>
                </a:cxn>
                <a:cxn ang="0">
                  <a:pos x="13" y="0"/>
                </a:cxn>
                <a:cxn ang="0">
                  <a:pos x="26" y="3"/>
                </a:cxn>
                <a:cxn ang="0">
                  <a:pos x="42" y="10"/>
                </a:cxn>
                <a:cxn ang="0">
                  <a:pos x="59" y="21"/>
                </a:cxn>
                <a:cxn ang="0">
                  <a:pos x="73" y="28"/>
                </a:cxn>
                <a:cxn ang="0">
                  <a:pos x="81" y="31"/>
                </a:cxn>
                <a:cxn ang="0">
                  <a:pos x="91" y="31"/>
                </a:cxn>
                <a:cxn ang="0">
                  <a:pos x="105" y="26"/>
                </a:cxn>
                <a:cxn ang="0">
                  <a:pos x="120" y="19"/>
                </a:cxn>
                <a:cxn ang="0">
                  <a:pos x="133" y="11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2070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056313" y="1287464"/>
            <a:ext cx="3065462" cy="1074737"/>
          </a:xfrm>
          <a:custGeom>
            <a:avLst/>
            <a:gdLst/>
            <a:ahLst/>
            <a:cxnLst>
              <a:cxn ang="0">
                <a:pos x="725" y="1733"/>
              </a:cxn>
              <a:cxn ang="0">
                <a:pos x="1070" y="1937"/>
              </a:cxn>
              <a:cxn ang="0">
                <a:pos x="1212" y="1814"/>
              </a:cxn>
              <a:cxn ang="0">
                <a:pos x="1674" y="1469"/>
              </a:cxn>
              <a:cxn ang="0">
                <a:pos x="2618" y="1315"/>
              </a:cxn>
              <a:cxn ang="0">
                <a:pos x="3350" y="1494"/>
              </a:cxn>
              <a:cxn ang="0">
                <a:pos x="3676" y="1438"/>
              </a:cxn>
              <a:cxn ang="0">
                <a:pos x="4136" y="1492"/>
              </a:cxn>
              <a:cxn ang="0">
                <a:pos x="4577" y="1509"/>
              </a:cxn>
              <a:cxn ang="0">
                <a:pos x="4759" y="1372"/>
              </a:cxn>
              <a:cxn ang="0">
                <a:pos x="5156" y="1476"/>
              </a:cxn>
              <a:cxn ang="0">
                <a:pos x="5614" y="1598"/>
              </a:cxn>
              <a:cxn ang="0">
                <a:pos x="5604" y="1844"/>
              </a:cxn>
              <a:cxn ang="0">
                <a:pos x="5853" y="1612"/>
              </a:cxn>
              <a:cxn ang="0">
                <a:pos x="5570" y="1256"/>
              </a:cxn>
              <a:cxn ang="0">
                <a:pos x="5331" y="1147"/>
              </a:cxn>
              <a:cxn ang="0">
                <a:pos x="5857" y="982"/>
              </a:cxn>
              <a:cxn ang="0">
                <a:pos x="5974" y="822"/>
              </a:cxn>
              <a:cxn ang="0">
                <a:pos x="6132" y="761"/>
              </a:cxn>
              <a:cxn ang="0">
                <a:pos x="6195" y="974"/>
              </a:cxn>
              <a:cxn ang="0">
                <a:pos x="6352" y="1251"/>
              </a:cxn>
              <a:cxn ang="0">
                <a:pos x="6575" y="1410"/>
              </a:cxn>
              <a:cxn ang="0">
                <a:pos x="6566" y="1214"/>
              </a:cxn>
              <a:cxn ang="0">
                <a:pos x="6373" y="1037"/>
              </a:cxn>
              <a:cxn ang="0">
                <a:pos x="6547" y="885"/>
              </a:cxn>
              <a:cxn ang="0">
                <a:pos x="6801" y="784"/>
              </a:cxn>
              <a:cxn ang="0">
                <a:pos x="6628" y="618"/>
              </a:cxn>
              <a:cxn ang="0">
                <a:pos x="6799" y="636"/>
              </a:cxn>
              <a:cxn ang="0">
                <a:pos x="6861" y="543"/>
              </a:cxn>
              <a:cxn ang="0">
                <a:pos x="6500" y="462"/>
              </a:cxn>
              <a:cxn ang="0">
                <a:pos x="5843" y="410"/>
              </a:cxn>
              <a:cxn ang="0">
                <a:pos x="5693" y="415"/>
              </a:cxn>
              <a:cxn ang="0">
                <a:pos x="4991" y="351"/>
              </a:cxn>
              <a:cxn ang="0">
                <a:pos x="4728" y="290"/>
              </a:cxn>
              <a:cxn ang="0">
                <a:pos x="4412" y="290"/>
              </a:cxn>
              <a:cxn ang="0">
                <a:pos x="4009" y="318"/>
              </a:cxn>
              <a:cxn ang="0">
                <a:pos x="3574" y="261"/>
              </a:cxn>
              <a:cxn ang="0">
                <a:pos x="3290" y="244"/>
              </a:cxn>
              <a:cxn ang="0">
                <a:pos x="3008" y="235"/>
              </a:cxn>
              <a:cxn ang="0">
                <a:pos x="2724" y="58"/>
              </a:cxn>
              <a:cxn ang="0">
                <a:pos x="2617" y="140"/>
              </a:cxn>
              <a:cxn ang="0">
                <a:pos x="2134" y="167"/>
              </a:cxn>
              <a:cxn ang="0">
                <a:pos x="2159" y="200"/>
              </a:cxn>
              <a:cxn ang="0">
                <a:pos x="2198" y="342"/>
              </a:cxn>
              <a:cxn ang="0">
                <a:pos x="1933" y="256"/>
              </a:cxn>
              <a:cxn ang="0">
                <a:pos x="1787" y="273"/>
              </a:cxn>
              <a:cxn ang="0">
                <a:pos x="1917" y="446"/>
              </a:cxn>
              <a:cxn ang="0">
                <a:pos x="2076" y="529"/>
              </a:cxn>
              <a:cxn ang="0">
                <a:pos x="1883" y="593"/>
              </a:cxn>
              <a:cxn ang="0">
                <a:pos x="1832" y="464"/>
              </a:cxn>
              <a:cxn ang="0">
                <a:pos x="1621" y="231"/>
              </a:cxn>
              <a:cxn ang="0">
                <a:pos x="1623" y="451"/>
              </a:cxn>
              <a:cxn ang="0">
                <a:pos x="1238" y="397"/>
              </a:cxn>
              <a:cxn ang="0">
                <a:pos x="1198" y="477"/>
              </a:cxn>
              <a:cxn ang="0">
                <a:pos x="908" y="500"/>
              </a:cxn>
              <a:cxn ang="0">
                <a:pos x="692" y="483"/>
              </a:cxn>
              <a:cxn ang="0">
                <a:pos x="602" y="585"/>
              </a:cxn>
              <a:cxn ang="0">
                <a:pos x="407" y="739"/>
              </a:cxn>
              <a:cxn ang="0">
                <a:pos x="390" y="612"/>
              </a:cxn>
              <a:cxn ang="0">
                <a:pos x="150" y="440"/>
              </a:cxn>
              <a:cxn ang="0">
                <a:pos x="71" y="605"/>
              </a:cxn>
              <a:cxn ang="0">
                <a:pos x="112" y="958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071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5319714" y="2274888"/>
            <a:ext cx="280987" cy="247650"/>
          </a:xfrm>
          <a:custGeom>
            <a:avLst/>
            <a:gdLst/>
            <a:ahLst/>
            <a:cxnLst>
              <a:cxn ang="0">
                <a:pos x="406" y="27"/>
              </a:cxn>
              <a:cxn ang="0">
                <a:pos x="428" y="45"/>
              </a:cxn>
              <a:cxn ang="0">
                <a:pos x="458" y="60"/>
              </a:cxn>
              <a:cxn ang="0">
                <a:pos x="512" y="78"/>
              </a:cxn>
              <a:cxn ang="0">
                <a:pos x="538" y="81"/>
              </a:cxn>
              <a:cxn ang="0">
                <a:pos x="562" y="99"/>
              </a:cxn>
              <a:cxn ang="0">
                <a:pos x="567" y="97"/>
              </a:cxn>
              <a:cxn ang="0">
                <a:pos x="575" y="85"/>
              </a:cxn>
              <a:cxn ang="0">
                <a:pos x="583" y="78"/>
              </a:cxn>
              <a:cxn ang="0">
                <a:pos x="603" y="80"/>
              </a:cxn>
              <a:cxn ang="0">
                <a:pos x="624" y="79"/>
              </a:cxn>
              <a:cxn ang="0">
                <a:pos x="640" y="84"/>
              </a:cxn>
              <a:cxn ang="0">
                <a:pos x="646" y="103"/>
              </a:cxn>
              <a:cxn ang="0">
                <a:pos x="646" y="123"/>
              </a:cxn>
              <a:cxn ang="0">
                <a:pos x="618" y="131"/>
              </a:cxn>
              <a:cxn ang="0">
                <a:pos x="586" y="146"/>
              </a:cxn>
              <a:cxn ang="0">
                <a:pos x="560" y="165"/>
              </a:cxn>
              <a:cxn ang="0">
                <a:pos x="504" y="214"/>
              </a:cxn>
              <a:cxn ang="0">
                <a:pos x="489" y="227"/>
              </a:cxn>
              <a:cxn ang="0">
                <a:pos x="474" y="254"/>
              </a:cxn>
              <a:cxn ang="0">
                <a:pos x="473" y="282"/>
              </a:cxn>
              <a:cxn ang="0">
                <a:pos x="473" y="311"/>
              </a:cxn>
              <a:cxn ang="0">
                <a:pos x="463" y="340"/>
              </a:cxn>
              <a:cxn ang="0">
                <a:pos x="450" y="354"/>
              </a:cxn>
              <a:cxn ang="0">
                <a:pos x="411" y="384"/>
              </a:cxn>
              <a:cxn ang="0">
                <a:pos x="383" y="411"/>
              </a:cxn>
              <a:cxn ang="0">
                <a:pos x="374" y="425"/>
              </a:cxn>
              <a:cxn ang="0">
                <a:pos x="369" y="432"/>
              </a:cxn>
              <a:cxn ang="0">
                <a:pos x="310" y="429"/>
              </a:cxn>
              <a:cxn ang="0">
                <a:pos x="257" y="434"/>
              </a:cxn>
              <a:cxn ang="0">
                <a:pos x="224" y="446"/>
              </a:cxn>
              <a:cxn ang="0">
                <a:pos x="193" y="467"/>
              </a:cxn>
              <a:cxn ang="0">
                <a:pos x="179" y="469"/>
              </a:cxn>
              <a:cxn ang="0">
                <a:pos x="169" y="461"/>
              </a:cxn>
              <a:cxn ang="0">
                <a:pos x="153" y="432"/>
              </a:cxn>
              <a:cxn ang="0">
                <a:pos x="140" y="414"/>
              </a:cxn>
              <a:cxn ang="0">
                <a:pos x="122" y="400"/>
              </a:cxn>
              <a:cxn ang="0">
                <a:pos x="114" y="379"/>
              </a:cxn>
              <a:cxn ang="0">
                <a:pos x="126" y="336"/>
              </a:cxn>
              <a:cxn ang="0">
                <a:pos x="127" y="267"/>
              </a:cxn>
              <a:cxn ang="0">
                <a:pos x="147" y="206"/>
              </a:cxn>
              <a:cxn ang="0">
                <a:pos x="168" y="149"/>
              </a:cxn>
              <a:cxn ang="0">
                <a:pos x="172" y="131"/>
              </a:cxn>
              <a:cxn ang="0">
                <a:pos x="116" y="123"/>
              </a:cxn>
              <a:cxn ang="0">
                <a:pos x="62" y="109"/>
              </a:cxn>
              <a:cxn ang="0">
                <a:pos x="17" y="93"/>
              </a:cxn>
              <a:cxn ang="0">
                <a:pos x="0" y="38"/>
              </a:cxn>
              <a:cxn ang="0">
                <a:pos x="23" y="34"/>
              </a:cxn>
              <a:cxn ang="0">
                <a:pos x="51" y="20"/>
              </a:cxn>
              <a:cxn ang="0">
                <a:pos x="73" y="4"/>
              </a:cxn>
              <a:cxn ang="0">
                <a:pos x="86" y="0"/>
              </a:cxn>
              <a:cxn ang="0">
                <a:pos x="132" y="7"/>
              </a:cxn>
              <a:cxn ang="0">
                <a:pos x="171" y="17"/>
              </a:cxn>
              <a:cxn ang="0">
                <a:pos x="209" y="20"/>
              </a:cxn>
              <a:cxn ang="0">
                <a:pos x="235" y="29"/>
              </a:cxn>
              <a:cxn ang="0">
                <a:pos x="258" y="37"/>
              </a:cxn>
              <a:cxn ang="0">
                <a:pos x="385" y="26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072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7951788" y="3013076"/>
            <a:ext cx="207962" cy="455613"/>
          </a:xfrm>
          <a:custGeom>
            <a:avLst/>
            <a:gdLst/>
            <a:ahLst/>
            <a:cxnLst>
              <a:cxn ang="0">
                <a:pos x="379" y="357"/>
              </a:cxn>
              <a:cxn ang="0">
                <a:pos x="333" y="370"/>
              </a:cxn>
              <a:cxn ang="0">
                <a:pos x="314" y="390"/>
              </a:cxn>
              <a:cxn ang="0">
                <a:pos x="316" y="428"/>
              </a:cxn>
              <a:cxn ang="0">
                <a:pos x="352" y="492"/>
              </a:cxn>
              <a:cxn ang="0">
                <a:pos x="359" y="530"/>
              </a:cxn>
              <a:cxn ang="0">
                <a:pos x="366" y="555"/>
              </a:cxn>
              <a:cxn ang="0">
                <a:pos x="323" y="526"/>
              </a:cxn>
              <a:cxn ang="0">
                <a:pos x="309" y="492"/>
              </a:cxn>
              <a:cxn ang="0">
                <a:pos x="269" y="467"/>
              </a:cxn>
              <a:cxn ang="0">
                <a:pos x="210" y="439"/>
              </a:cxn>
              <a:cxn ang="0">
                <a:pos x="193" y="406"/>
              </a:cxn>
              <a:cxn ang="0">
                <a:pos x="156" y="477"/>
              </a:cxn>
              <a:cxn ang="0">
                <a:pos x="156" y="524"/>
              </a:cxn>
              <a:cxn ang="0">
                <a:pos x="132" y="575"/>
              </a:cxn>
              <a:cxn ang="0">
                <a:pos x="128" y="621"/>
              </a:cxn>
              <a:cxn ang="0">
                <a:pos x="154" y="650"/>
              </a:cxn>
              <a:cxn ang="0">
                <a:pos x="175" y="685"/>
              </a:cxn>
              <a:cxn ang="0">
                <a:pos x="185" y="730"/>
              </a:cxn>
              <a:cxn ang="0">
                <a:pos x="226" y="780"/>
              </a:cxn>
              <a:cxn ang="0">
                <a:pos x="281" y="825"/>
              </a:cxn>
              <a:cxn ang="0">
                <a:pos x="340" y="850"/>
              </a:cxn>
              <a:cxn ang="0">
                <a:pos x="298" y="867"/>
              </a:cxn>
              <a:cxn ang="0">
                <a:pos x="269" y="864"/>
              </a:cxn>
              <a:cxn ang="0">
                <a:pos x="229" y="841"/>
              </a:cxn>
              <a:cxn ang="0">
                <a:pos x="200" y="823"/>
              </a:cxn>
              <a:cxn ang="0">
                <a:pos x="137" y="759"/>
              </a:cxn>
              <a:cxn ang="0">
                <a:pos x="83" y="730"/>
              </a:cxn>
              <a:cxn ang="0">
                <a:pos x="74" y="688"/>
              </a:cxn>
              <a:cxn ang="0">
                <a:pos x="80" y="653"/>
              </a:cxn>
              <a:cxn ang="0">
                <a:pos x="88" y="617"/>
              </a:cxn>
              <a:cxn ang="0">
                <a:pos x="120" y="498"/>
              </a:cxn>
              <a:cxn ang="0">
                <a:pos x="108" y="404"/>
              </a:cxn>
              <a:cxn ang="0">
                <a:pos x="62" y="319"/>
              </a:cxn>
              <a:cxn ang="0">
                <a:pos x="64" y="285"/>
              </a:cxn>
              <a:cxn ang="0">
                <a:pos x="74" y="265"/>
              </a:cxn>
              <a:cxn ang="0">
                <a:pos x="56" y="202"/>
              </a:cxn>
              <a:cxn ang="0">
                <a:pos x="23" y="158"/>
              </a:cxn>
              <a:cxn ang="0">
                <a:pos x="1" y="102"/>
              </a:cxn>
              <a:cxn ang="0">
                <a:pos x="11" y="44"/>
              </a:cxn>
              <a:cxn ang="0">
                <a:pos x="49" y="16"/>
              </a:cxn>
              <a:cxn ang="0">
                <a:pos x="120" y="0"/>
              </a:cxn>
              <a:cxn ang="0">
                <a:pos x="156" y="28"/>
              </a:cxn>
              <a:cxn ang="0">
                <a:pos x="179" y="36"/>
              </a:cxn>
              <a:cxn ang="0">
                <a:pos x="197" y="136"/>
              </a:cxn>
              <a:cxn ang="0">
                <a:pos x="213" y="166"/>
              </a:cxn>
              <a:cxn ang="0">
                <a:pos x="231" y="155"/>
              </a:cxn>
              <a:cxn ang="0">
                <a:pos x="258" y="126"/>
              </a:cxn>
              <a:cxn ang="0">
                <a:pos x="281" y="141"/>
              </a:cxn>
              <a:cxn ang="0">
                <a:pos x="298" y="136"/>
              </a:cxn>
              <a:cxn ang="0">
                <a:pos x="316" y="108"/>
              </a:cxn>
              <a:cxn ang="0">
                <a:pos x="346" y="108"/>
              </a:cxn>
              <a:cxn ang="0">
                <a:pos x="387" y="157"/>
              </a:cxn>
              <a:cxn ang="0">
                <a:pos x="454" y="246"/>
              </a:cxn>
              <a:cxn ang="0">
                <a:pos x="478" y="307"/>
              </a:cxn>
              <a:cxn ang="0">
                <a:pos x="468" y="338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73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4060826" y="5400675"/>
            <a:ext cx="23813" cy="57150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7" y="13"/>
              </a:cxn>
              <a:cxn ang="0">
                <a:pos x="14" y="17"/>
              </a:cxn>
              <a:cxn ang="0">
                <a:pos x="22" y="19"/>
              </a:cxn>
              <a:cxn ang="0">
                <a:pos x="29" y="19"/>
              </a:cxn>
              <a:cxn ang="0">
                <a:pos x="35" y="18"/>
              </a:cxn>
              <a:cxn ang="0">
                <a:pos x="42" y="15"/>
              </a:cxn>
              <a:cxn ang="0">
                <a:pos x="47" y="12"/>
              </a:cxn>
              <a:cxn ang="0">
                <a:pos x="53" y="8"/>
              </a:cxn>
              <a:cxn ang="0">
                <a:pos x="47" y="5"/>
              </a:cxn>
              <a:cxn ang="0">
                <a:pos x="42" y="2"/>
              </a:cxn>
              <a:cxn ang="0">
                <a:pos x="35" y="1"/>
              </a:cxn>
              <a:cxn ang="0">
                <a:pos x="29" y="0"/>
              </a:cxn>
              <a:cxn ang="0">
                <a:pos x="22" y="0"/>
              </a:cxn>
              <a:cxn ang="0">
                <a:pos x="14" y="1"/>
              </a:cxn>
              <a:cxn ang="0">
                <a:pos x="7" y="3"/>
              </a:cxn>
              <a:cxn ang="0">
                <a:pos x="0" y="8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74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2522539" y="2322514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75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2525714" y="2319338"/>
            <a:ext cx="3175" cy="55562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0" y="19"/>
              </a:cxn>
              <a:cxn ang="0">
                <a:pos x="1" y="14"/>
              </a:cxn>
              <a:cxn ang="0">
                <a:pos x="3" y="8"/>
              </a:cxn>
              <a:cxn ang="0">
                <a:pos x="6" y="0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76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2501901" y="2373313"/>
            <a:ext cx="23813" cy="57150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0" y="30"/>
              </a:cxn>
              <a:cxn ang="0">
                <a:pos x="2" y="36"/>
              </a:cxn>
              <a:cxn ang="0">
                <a:pos x="3" y="42"/>
              </a:cxn>
              <a:cxn ang="0">
                <a:pos x="5" y="47"/>
              </a:cxn>
              <a:cxn ang="0">
                <a:pos x="9" y="58"/>
              </a:cxn>
              <a:cxn ang="0">
                <a:pos x="14" y="67"/>
              </a:cxn>
              <a:cxn ang="0">
                <a:pos x="47" y="67"/>
              </a:cxn>
              <a:cxn ang="0">
                <a:pos x="47" y="0"/>
              </a:cxn>
              <a:cxn ang="0">
                <a:pos x="36" y="2"/>
              </a:cxn>
              <a:cxn ang="0">
                <a:pos x="26" y="4"/>
              </a:cxn>
              <a:cxn ang="0">
                <a:pos x="18" y="7"/>
              </a:cxn>
              <a:cxn ang="0">
                <a:pos x="11" y="9"/>
              </a:cxn>
              <a:cxn ang="0">
                <a:pos x="6" y="12"/>
              </a:cxn>
              <a:cxn ang="0">
                <a:pos x="3" y="16"/>
              </a:cxn>
              <a:cxn ang="0">
                <a:pos x="0" y="20"/>
              </a:cxn>
              <a:cxn ang="0">
                <a:pos x="0" y="24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77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3827463" y="2368550"/>
            <a:ext cx="49212" cy="57150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59" y="36"/>
              </a:cxn>
              <a:cxn ang="0">
                <a:pos x="67" y="30"/>
              </a:cxn>
              <a:cxn ang="0">
                <a:pos x="75" y="26"/>
              </a:cxn>
              <a:cxn ang="0">
                <a:pos x="84" y="23"/>
              </a:cxn>
              <a:cxn ang="0">
                <a:pos x="91" y="20"/>
              </a:cxn>
              <a:cxn ang="0">
                <a:pos x="98" y="17"/>
              </a:cxn>
              <a:cxn ang="0">
                <a:pos x="104" y="13"/>
              </a:cxn>
              <a:cxn ang="0">
                <a:pos x="107" y="11"/>
              </a:cxn>
              <a:cxn ang="0">
                <a:pos x="109" y="8"/>
              </a:cxn>
              <a:cxn ang="0">
                <a:pos x="111" y="4"/>
              </a:cxn>
              <a:cxn ang="0">
                <a:pos x="112" y="0"/>
              </a:cxn>
              <a:cxn ang="0">
                <a:pos x="100" y="0"/>
              </a:cxn>
              <a:cxn ang="0">
                <a:pos x="85" y="1"/>
              </a:cxn>
              <a:cxn ang="0">
                <a:pos x="67" y="3"/>
              </a:cxn>
              <a:cxn ang="0">
                <a:pos x="48" y="7"/>
              </a:cxn>
              <a:cxn ang="0">
                <a:pos x="40" y="9"/>
              </a:cxn>
              <a:cxn ang="0">
                <a:pos x="31" y="11"/>
              </a:cxn>
              <a:cxn ang="0">
                <a:pos x="23" y="14"/>
              </a:cxn>
              <a:cxn ang="0">
                <a:pos x="17" y="18"/>
              </a:cxn>
              <a:cxn ang="0">
                <a:pos x="10" y="22"/>
              </a:cxn>
              <a:cxn ang="0">
                <a:pos x="6" y="26"/>
              </a:cxn>
              <a:cxn ang="0">
                <a:pos x="1" y="31"/>
              </a:cxn>
              <a:cxn ang="0">
                <a:pos x="0" y="36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78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6565901" y="1925639"/>
            <a:ext cx="874713" cy="452437"/>
          </a:xfrm>
          <a:custGeom>
            <a:avLst/>
            <a:gdLst/>
            <a:ahLst/>
            <a:cxnLst>
              <a:cxn ang="0">
                <a:pos x="433" y="765"/>
              </a:cxn>
              <a:cxn ang="0">
                <a:pos x="412" y="764"/>
              </a:cxn>
              <a:cxn ang="0">
                <a:pos x="390" y="794"/>
              </a:cxn>
              <a:cxn ang="0">
                <a:pos x="375" y="792"/>
              </a:cxn>
              <a:cxn ang="0">
                <a:pos x="370" y="751"/>
              </a:cxn>
              <a:cxn ang="0">
                <a:pos x="324" y="724"/>
              </a:cxn>
              <a:cxn ang="0">
                <a:pos x="312" y="708"/>
              </a:cxn>
              <a:cxn ang="0">
                <a:pos x="288" y="692"/>
              </a:cxn>
              <a:cxn ang="0">
                <a:pos x="251" y="641"/>
              </a:cxn>
              <a:cxn ang="0">
                <a:pos x="232" y="610"/>
              </a:cxn>
              <a:cxn ang="0">
                <a:pos x="253" y="594"/>
              </a:cxn>
              <a:cxn ang="0">
                <a:pos x="279" y="573"/>
              </a:cxn>
              <a:cxn ang="0">
                <a:pos x="338" y="544"/>
              </a:cxn>
              <a:cxn ang="0">
                <a:pos x="319" y="487"/>
              </a:cxn>
              <a:cxn ang="0">
                <a:pos x="258" y="475"/>
              </a:cxn>
              <a:cxn ang="0">
                <a:pos x="209" y="470"/>
              </a:cxn>
              <a:cxn ang="0">
                <a:pos x="157" y="495"/>
              </a:cxn>
              <a:cxn ang="0">
                <a:pos x="106" y="505"/>
              </a:cxn>
              <a:cxn ang="0">
                <a:pos x="27" y="413"/>
              </a:cxn>
              <a:cxn ang="0">
                <a:pos x="20" y="283"/>
              </a:cxn>
              <a:cxn ang="0">
                <a:pos x="113" y="259"/>
              </a:cxn>
              <a:cxn ang="0">
                <a:pos x="292" y="222"/>
              </a:cxn>
              <a:cxn ang="0">
                <a:pos x="498" y="253"/>
              </a:cxn>
              <a:cxn ang="0">
                <a:pos x="717" y="253"/>
              </a:cxn>
              <a:cxn ang="0">
                <a:pos x="658" y="185"/>
              </a:cxn>
              <a:cxn ang="0">
                <a:pos x="830" y="68"/>
              </a:cxn>
              <a:cxn ang="0">
                <a:pos x="1050" y="13"/>
              </a:cxn>
              <a:cxn ang="0">
                <a:pos x="1176" y="61"/>
              </a:cxn>
              <a:cxn ang="0">
                <a:pos x="1296" y="111"/>
              </a:cxn>
              <a:cxn ang="0">
                <a:pos x="1442" y="99"/>
              </a:cxn>
              <a:cxn ang="0">
                <a:pos x="1647" y="271"/>
              </a:cxn>
              <a:cxn ang="0">
                <a:pos x="1793" y="265"/>
              </a:cxn>
              <a:cxn ang="0">
                <a:pos x="2000" y="339"/>
              </a:cxn>
              <a:cxn ang="0">
                <a:pos x="2002" y="381"/>
              </a:cxn>
              <a:cxn ang="0">
                <a:pos x="1981" y="399"/>
              </a:cxn>
              <a:cxn ang="0">
                <a:pos x="1960" y="404"/>
              </a:cxn>
              <a:cxn ang="0">
                <a:pos x="1963" y="425"/>
              </a:cxn>
              <a:cxn ang="0">
                <a:pos x="1985" y="466"/>
              </a:cxn>
              <a:cxn ang="0">
                <a:pos x="1979" y="478"/>
              </a:cxn>
              <a:cxn ang="0">
                <a:pos x="1939" y="481"/>
              </a:cxn>
              <a:cxn ang="0">
                <a:pos x="1893" y="474"/>
              </a:cxn>
              <a:cxn ang="0">
                <a:pos x="1864" y="474"/>
              </a:cxn>
              <a:cxn ang="0">
                <a:pos x="1878" y="548"/>
              </a:cxn>
              <a:cxn ang="0">
                <a:pos x="1880" y="586"/>
              </a:cxn>
              <a:cxn ang="0">
                <a:pos x="1789" y="588"/>
              </a:cxn>
              <a:cxn ang="0">
                <a:pos x="1768" y="604"/>
              </a:cxn>
              <a:cxn ang="0">
                <a:pos x="1795" y="619"/>
              </a:cxn>
              <a:cxn ang="0">
                <a:pos x="1814" y="650"/>
              </a:cxn>
              <a:cxn ang="0">
                <a:pos x="1834" y="689"/>
              </a:cxn>
              <a:cxn ang="0">
                <a:pos x="1837" y="706"/>
              </a:cxn>
              <a:cxn ang="0">
                <a:pos x="1837" y="754"/>
              </a:cxn>
              <a:cxn ang="0">
                <a:pos x="1741" y="740"/>
              </a:cxn>
              <a:cxn ang="0">
                <a:pos x="1475" y="764"/>
              </a:cxn>
              <a:cxn ang="0">
                <a:pos x="1316" y="795"/>
              </a:cxn>
              <a:cxn ang="0">
                <a:pos x="1142" y="838"/>
              </a:cxn>
              <a:cxn ang="0">
                <a:pos x="963" y="697"/>
              </a:cxn>
              <a:cxn ang="0">
                <a:pos x="684" y="586"/>
              </a:cxn>
              <a:cxn ang="0">
                <a:pos x="584" y="832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79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6796089" y="2228850"/>
            <a:ext cx="409575" cy="249238"/>
          </a:xfrm>
          <a:custGeom>
            <a:avLst/>
            <a:gdLst/>
            <a:ahLst/>
            <a:cxnLst>
              <a:cxn ang="0">
                <a:pos x="638" y="443"/>
              </a:cxn>
              <a:cxn ang="0">
                <a:pos x="558" y="418"/>
              </a:cxn>
              <a:cxn ang="0">
                <a:pos x="471" y="376"/>
              </a:cxn>
              <a:cxn ang="0">
                <a:pos x="392" y="307"/>
              </a:cxn>
              <a:cxn ang="0">
                <a:pos x="305" y="258"/>
              </a:cxn>
              <a:cxn ang="0">
                <a:pos x="253" y="209"/>
              </a:cxn>
              <a:cxn ang="0">
                <a:pos x="186" y="172"/>
              </a:cxn>
              <a:cxn ang="0">
                <a:pos x="133" y="190"/>
              </a:cxn>
              <a:cxn ang="0">
                <a:pos x="99" y="240"/>
              </a:cxn>
              <a:cxn ang="0">
                <a:pos x="40" y="246"/>
              </a:cxn>
              <a:cxn ang="0">
                <a:pos x="0" y="24"/>
              </a:cxn>
              <a:cxn ang="0">
                <a:pos x="79" y="6"/>
              </a:cxn>
              <a:cxn ang="0">
                <a:pos x="133" y="55"/>
              </a:cxn>
              <a:cxn ang="0">
                <a:pos x="157" y="15"/>
              </a:cxn>
              <a:cxn ang="0">
                <a:pos x="332" y="117"/>
              </a:cxn>
              <a:cxn ang="0">
                <a:pos x="438" y="117"/>
              </a:cxn>
              <a:cxn ang="0">
                <a:pos x="525" y="135"/>
              </a:cxn>
              <a:cxn ang="0">
                <a:pos x="597" y="228"/>
              </a:cxn>
              <a:cxn ang="0">
                <a:pos x="671" y="252"/>
              </a:cxn>
              <a:cxn ang="0">
                <a:pos x="730" y="258"/>
              </a:cxn>
              <a:cxn ang="0">
                <a:pos x="791" y="215"/>
              </a:cxn>
              <a:cxn ang="0">
                <a:pos x="843" y="196"/>
              </a:cxn>
              <a:cxn ang="0">
                <a:pos x="824" y="252"/>
              </a:cxn>
              <a:cxn ang="0">
                <a:pos x="870" y="240"/>
              </a:cxn>
              <a:cxn ang="0">
                <a:pos x="950" y="283"/>
              </a:cxn>
              <a:cxn ang="0">
                <a:pos x="883" y="320"/>
              </a:cxn>
              <a:cxn ang="0">
                <a:pos x="824" y="283"/>
              </a:cxn>
              <a:cxn ang="0">
                <a:pos x="764" y="277"/>
              </a:cxn>
              <a:cxn ang="0">
                <a:pos x="737" y="320"/>
              </a:cxn>
              <a:cxn ang="0">
                <a:pos x="684" y="357"/>
              </a:cxn>
              <a:cxn ang="0">
                <a:pos x="710" y="388"/>
              </a:cxn>
              <a:cxn ang="0">
                <a:pos x="743" y="437"/>
              </a:cxn>
              <a:cxn ang="0">
                <a:pos x="717" y="468"/>
              </a:cxn>
              <a:cxn ang="0">
                <a:pos x="703" y="465"/>
              </a:cxn>
              <a:cxn ang="0">
                <a:pos x="684" y="461"/>
              </a:cxn>
              <a:cxn ang="0">
                <a:pos x="658" y="46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80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5603876" y="3232151"/>
            <a:ext cx="296863" cy="288925"/>
          </a:xfrm>
          <a:custGeom>
            <a:avLst/>
            <a:gdLst/>
            <a:ahLst/>
            <a:cxnLst>
              <a:cxn ang="0">
                <a:pos x="6" y="383"/>
              </a:cxn>
              <a:cxn ang="0">
                <a:pos x="8" y="316"/>
              </a:cxn>
              <a:cxn ang="0">
                <a:pos x="17" y="287"/>
              </a:cxn>
              <a:cxn ang="0">
                <a:pos x="52" y="238"/>
              </a:cxn>
              <a:cxn ang="0">
                <a:pos x="71" y="205"/>
              </a:cxn>
              <a:cxn ang="0">
                <a:pos x="73" y="167"/>
              </a:cxn>
              <a:cxn ang="0">
                <a:pos x="73" y="137"/>
              </a:cxn>
              <a:cxn ang="0">
                <a:pos x="54" y="108"/>
              </a:cxn>
              <a:cxn ang="0">
                <a:pos x="61" y="79"/>
              </a:cxn>
              <a:cxn ang="0">
                <a:pos x="76" y="50"/>
              </a:cxn>
              <a:cxn ang="0">
                <a:pos x="96" y="25"/>
              </a:cxn>
              <a:cxn ang="0">
                <a:pos x="120" y="7"/>
              </a:cxn>
              <a:cxn ang="0">
                <a:pos x="146" y="0"/>
              </a:cxn>
              <a:cxn ang="0">
                <a:pos x="173" y="5"/>
              </a:cxn>
              <a:cxn ang="0">
                <a:pos x="206" y="26"/>
              </a:cxn>
              <a:cxn ang="0">
                <a:pos x="236" y="45"/>
              </a:cxn>
              <a:cxn ang="0">
                <a:pos x="259" y="50"/>
              </a:cxn>
              <a:cxn ang="0">
                <a:pos x="272" y="44"/>
              </a:cxn>
              <a:cxn ang="0">
                <a:pos x="284" y="35"/>
              </a:cxn>
              <a:cxn ang="0">
                <a:pos x="300" y="32"/>
              </a:cxn>
              <a:cxn ang="0">
                <a:pos x="318" y="39"/>
              </a:cxn>
              <a:cxn ang="0">
                <a:pos x="337" y="65"/>
              </a:cxn>
              <a:cxn ang="0">
                <a:pos x="353" y="79"/>
              </a:cxn>
              <a:cxn ang="0">
                <a:pos x="370" y="81"/>
              </a:cxn>
              <a:cxn ang="0">
                <a:pos x="381" y="75"/>
              </a:cxn>
              <a:cxn ang="0">
                <a:pos x="397" y="56"/>
              </a:cxn>
              <a:cxn ang="0">
                <a:pos x="419" y="38"/>
              </a:cxn>
              <a:cxn ang="0">
                <a:pos x="458" y="22"/>
              </a:cxn>
              <a:cxn ang="0">
                <a:pos x="487" y="25"/>
              </a:cxn>
              <a:cxn ang="0">
                <a:pos x="511" y="35"/>
              </a:cxn>
              <a:cxn ang="0">
                <a:pos x="537" y="43"/>
              </a:cxn>
              <a:cxn ang="0">
                <a:pos x="571" y="39"/>
              </a:cxn>
              <a:cxn ang="0">
                <a:pos x="646" y="67"/>
              </a:cxn>
              <a:cxn ang="0">
                <a:pos x="665" y="105"/>
              </a:cxn>
              <a:cxn ang="0">
                <a:pos x="623" y="183"/>
              </a:cxn>
              <a:cxn ang="0">
                <a:pos x="593" y="233"/>
              </a:cxn>
              <a:cxn ang="0">
                <a:pos x="570" y="291"/>
              </a:cxn>
              <a:cxn ang="0">
                <a:pos x="550" y="343"/>
              </a:cxn>
              <a:cxn ang="0">
                <a:pos x="525" y="407"/>
              </a:cxn>
              <a:cxn ang="0">
                <a:pos x="516" y="422"/>
              </a:cxn>
              <a:cxn ang="0">
                <a:pos x="500" y="439"/>
              </a:cxn>
              <a:cxn ang="0">
                <a:pos x="482" y="443"/>
              </a:cxn>
              <a:cxn ang="0">
                <a:pos x="459" y="432"/>
              </a:cxn>
              <a:cxn ang="0">
                <a:pos x="440" y="421"/>
              </a:cxn>
              <a:cxn ang="0">
                <a:pos x="408" y="424"/>
              </a:cxn>
              <a:cxn ang="0">
                <a:pos x="381" y="441"/>
              </a:cxn>
              <a:cxn ang="0">
                <a:pos x="364" y="469"/>
              </a:cxn>
              <a:cxn ang="0">
                <a:pos x="342" y="521"/>
              </a:cxn>
              <a:cxn ang="0">
                <a:pos x="325" y="549"/>
              </a:cxn>
              <a:cxn ang="0">
                <a:pos x="229" y="546"/>
              </a:cxn>
              <a:cxn ang="0">
                <a:pos x="217" y="548"/>
              </a:cxn>
              <a:cxn ang="0">
                <a:pos x="179" y="543"/>
              </a:cxn>
              <a:cxn ang="0">
                <a:pos x="161" y="540"/>
              </a:cxn>
              <a:cxn ang="0">
                <a:pos x="144" y="531"/>
              </a:cxn>
              <a:cxn ang="0">
                <a:pos x="129" y="515"/>
              </a:cxn>
              <a:cxn ang="0">
                <a:pos x="119" y="496"/>
              </a:cxn>
              <a:cxn ang="0">
                <a:pos x="113" y="472"/>
              </a:cxn>
              <a:cxn ang="0">
                <a:pos x="100" y="460"/>
              </a:cxn>
              <a:cxn ang="0">
                <a:pos x="83" y="447"/>
              </a:cxn>
              <a:cxn ang="0">
                <a:pos x="63" y="432"/>
              </a:cxn>
              <a:cxn ang="0">
                <a:pos x="39" y="429"/>
              </a:cxn>
              <a:cxn ang="0">
                <a:pos x="0" y="438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81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6446838" y="3097213"/>
            <a:ext cx="152400" cy="169862"/>
          </a:xfrm>
          <a:custGeom>
            <a:avLst/>
            <a:gdLst/>
            <a:ahLst/>
            <a:cxnLst>
              <a:cxn ang="0">
                <a:pos x="326" y="324"/>
              </a:cxn>
              <a:cxn ang="0">
                <a:pos x="331" y="321"/>
              </a:cxn>
              <a:cxn ang="0">
                <a:pos x="337" y="318"/>
              </a:cxn>
              <a:cxn ang="0">
                <a:pos x="346" y="318"/>
              </a:cxn>
              <a:cxn ang="0">
                <a:pos x="356" y="324"/>
              </a:cxn>
              <a:cxn ang="0">
                <a:pos x="319" y="285"/>
              </a:cxn>
              <a:cxn ang="0">
                <a:pos x="278" y="235"/>
              </a:cxn>
              <a:cxn ang="0">
                <a:pos x="253" y="204"/>
              </a:cxn>
              <a:cxn ang="0">
                <a:pos x="232" y="186"/>
              </a:cxn>
              <a:cxn ang="0">
                <a:pos x="219" y="181"/>
              </a:cxn>
              <a:cxn ang="0">
                <a:pos x="208" y="180"/>
              </a:cxn>
              <a:cxn ang="0">
                <a:pos x="201" y="179"/>
              </a:cxn>
              <a:cxn ang="0">
                <a:pos x="199" y="174"/>
              </a:cxn>
              <a:cxn ang="0">
                <a:pos x="198" y="170"/>
              </a:cxn>
              <a:cxn ang="0">
                <a:pos x="195" y="169"/>
              </a:cxn>
              <a:cxn ang="0">
                <a:pos x="184" y="172"/>
              </a:cxn>
              <a:cxn ang="0">
                <a:pos x="171" y="172"/>
              </a:cxn>
              <a:cxn ang="0">
                <a:pos x="165" y="168"/>
              </a:cxn>
              <a:cxn ang="0">
                <a:pos x="160" y="161"/>
              </a:cxn>
              <a:cxn ang="0">
                <a:pos x="152" y="144"/>
              </a:cxn>
              <a:cxn ang="0">
                <a:pos x="143" y="131"/>
              </a:cxn>
              <a:cxn ang="0">
                <a:pos x="133" y="119"/>
              </a:cxn>
              <a:cxn ang="0">
                <a:pos x="127" y="105"/>
              </a:cxn>
              <a:cxn ang="0">
                <a:pos x="122" y="84"/>
              </a:cxn>
              <a:cxn ang="0">
                <a:pos x="119" y="53"/>
              </a:cxn>
              <a:cxn ang="0">
                <a:pos x="117" y="23"/>
              </a:cxn>
              <a:cxn ang="0">
                <a:pos x="112" y="0"/>
              </a:cxn>
              <a:cxn ang="0">
                <a:pos x="73" y="26"/>
              </a:cxn>
              <a:cxn ang="0">
                <a:pos x="61" y="33"/>
              </a:cxn>
              <a:cxn ang="0">
                <a:pos x="33" y="50"/>
              </a:cxn>
              <a:cxn ang="0">
                <a:pos x="21" y="61"/>
              </a:cxn>
              <a:cxn ang="0">
                <a:pos x="17" y="72"/>
              </a:cxn>
              <a:cxn ang="0">
                <a:pos x="16" y="83"/>
              </a:cxn>
              <a:cxn ang="0">
                <a:pos x="20" y="93"/>
              </a:cxn>
              <a:cxn ang="0">
                <a:pos x="22" y="100"/>
              </a:cxn>
              <a:cxn ang="0">
                <a:pos x="20" y="110"/>
              </a:cxn>
              <a:cxn ang="0">
                <a:pos x="15" y="123"/>
              </a:cxn>
              <a:cxn ang="0">
                <a:pos x="7" y="136"/>
              </a:cxn>
              <a:cxn ang="0">
                <a:pos x="0" y="155"/>
              </a:cxn>
              <a:cxn ang="0">
                <a:pos x="0" y="174"/>
              </a:cxn>
              <a:cxn ang="0">
                <a:pos x="5" y="182"/>
              </a:cxn>
              <a:cxn ang="0">
                <a:pos x="11" y="187"/>
              </a:cxn>
              <a:cxn ang="0">
                <a:pos x="20" y="186"/>
              </a:cxn>
              <a:cxn ang="0">
                <a:pos x="44" y="168"/>
              </a:cxn>
              <a:cxn ang="0">
                <a:pos x="60" y="161"/>
              </a:cxn>
              <a:cxn ang="0">
                <a:pos x="76" y="150"/>
              </a:cxn>
              <a:cxn ang="0">
                <a:pos x="93" y="159"/>
              </a:cxn>
              <a:cxn ang="0">
                <a:pos x="110" y="164"/>
              </a:cxn>
              <a:cxn ang="0">
                <a:pos x="142" y="180"/>
              </a:cxn>
              <a:cxn ang="0">
                <a:pos x="163" y="190"/>
              </a:cxn>
              <a:cxn ang="0">
                <a:pos x="196" y="209"/>
              </a:cxn>
              <a:cxn ang="0">
                <a:pos x="219" y="225"/>
              </a:cxn>
              <a:cxn ang="0">
                <a:pos x="245" y="244"/>
              </a:cxn>
              <a:cxn ang="0">
                <a:pos x="256" y="254"/>
              </a:cxn>
              <a:cxn ang="0">
                <a:pos x="267" y="270"/>
              </a:cxn>
              <a:cxn ang="0">
                <a:pos x="269" y="279"/>
              </a:cxn>
              <a:cxn ang="0">
                <a:pos x="269" y="286"/>
              </a:cxn>
              <a:cxn ang="0">
                <a:pos x="270" y="290"/>
              </a:cxn>
              <a:cxn ang="0">
                <a:pos x="276" y="292"/>
              </a:cxn>
              <a:cxn ang="0">
                <a:pos x="292" y="302"/>
              </a:cxn>
              <a:cxn ang="0">
                <a:pos x="318" y="3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82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5908676" y="2101850"/>
            <a:ext cx="125413" cy="57150"/>
          </a:xfrm>
          <a:custGeom>
            <a:avLst/>
            <a:gdLst/>
            <a:ahLst/>
            <a:cxnLst>
              <a:cxn ang="0">
                <a:pos x="126" y="0"/>
              </a:cxn>
              <a:cxn ang="0">
                <a:pos x="153" y="0"/>
              </a:cxn>
              <a:cxn ang="0">
                <a:pos x="198" y="1"/>
              </a:cxn>
              <a:cxn ang="0">
                <a:pos x="250" y="6"/>
              </a:cxn>
              <a:cxn ang="0">
                <a:pos x="292" y="7"/>
              </a:cxn>
              <a:cxn ang="0">
                <a:pos x="290" y="20"/>
              </a:cxn>
              <a:cxn ang="0">
                <a:pos x="285" y="33"/>
              </a:cxn>
              <a:cxn ang="0">
                <a:pos x="279" y="55"/>
              </a:cxn>
              <a:cxn ang="0">
                <a:pos x="135" y="70"/>
              </a:cxn>
              <a:cxn ang="0">
                <a:pos x="99" y="89"/>
              </a:cxn>
              <a:cxn ang="0">
                <a:pos x="79" y="96"/>
              </a:cxn>
              <a:cxn ang="0">
                <a:pos x="66" y="98"/>
              </a:cxn>
              <a:cxn ang="0">
                <a:pos x="55" y="98"/>
              </a:cxn>
              <a:cxn ang="0">
                <a:pos x="45" y="94"/>
              </a:cxn>
              <a:cxn ang="0">
                <a:pos x="33" y="86"/>
              </a:cxn>
              <a:cxn ang="0">
                <a:pos x="20" y="77"/>
              </a:cxn>
              <a:cxn ang="0">
                <a:pos x="7" y="69"/>
              </a:cxn>
              <a:cxn ang="0">
                <a:pos x="1" y="57"/>
              </a:cxn>
              <a:cxn ang="0">
                <a:pos x="0" y="42"/>
              </a:cxn>
              <a:cxn ang="0">
                <a:pos x="1" y="25"/>
              </a:cxn>
              <a:cxn ang="0">
                <a:pos x="3" y="20"/>
              </a:cxn>
              <a:cxn ang="0">
                <a:pos x="9" y="18"/>
              </a:cxn>
              <a:cxn ang="0">
                <a:pos x="15" y="21"/>
              </a:cxn>
              <a:cxn ang="0">
                <a:pos x="25" y="28"/>
              </a:cxn>
              <a:cxn ang="0">
                <a:pos x="35" y="32"/>
              </a:cxn>
              <a:cxn ang="0">
                <a:pos x="45" y="34"/>
              </a:cxn>
              <a:cxn ang="0">
                <a:pos x="54" y="33"/>
              </a:cxn>
              <a:cxn ang="0">
                <a:pos x="67" y="29"/>
              </a:cxn>
              <a:cxn ang="0">
                <a:pos x="81" y="19"/>
              </a:cxn>
              <a:cxn ang="0">
                <a:pos x="88" y="11"/>
              </a:cxn>
              <a:cxn ang="0">
                <a:pos x="94" y="6"/>
              </a:cxn>
              <a:cxn ang="0">
                <a:pos x="109" y="1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083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6772275" y="2822575"/>
            <a:ext cx="19050" cy="57150"/>
          </a:xfrm>
          <a:custGeom>
            <a:avLst/>
            <a:gdLst/>
            <a:ahLst/>
            <a:cxnLst>
              <a:cxn ang="0">
                <a:pos x="39" y="93"/>
              </a:cxn>
              <a:cxn ang="0">
                <a:pos x="31" y="91"/>
              </a:cxn>
              <a:cxn ang="0">
                <a:pos x="26" y="89"/>
              </a:cxn>
              <a:cxn ang="0">
                <a:pos x="21" y="87"/>
              </a:cxn>
              <a:cxn ang="0">
                <a:pos x="18" y="84"/>
              </a:cxn>
              <a:cxn ang="0">
                <a:pos x="15" y="79"/>
              </a:cxn>
              <a:cxn ang="0">
                <a:pos x="14" y="73"/>
              </a:cxn>
              <a:cxn ang="0">
                <a:pos x="13" y="65"/>
              </a:cxn>
              <a:cxn ang="0">
                <a:pos x="11" y="55"/>
              </a:cxn>
              <a:cxn ang="0">
                <a:pos x="11" y="48"/>
              </a:cxn>
              <a:cxn ang="0">
                <a:pos x="9" y="42"/>
              </a:cxn>
              <a:cxn ang="0">
                <a:pos x="6" y="38"/>
              </a:cxn>
              <a:cxn ang="0">
                <a:pos x="4" y="36"/>
              </a:cxn>
              <a:cxn ang="0">
                <a:pos x="2" y="34"/>
              </a:cxn>
              <a:cxn ang="0">
                <a:pos x="0" y="32"/>
              </a:cxn>
              <a:cxn ang="0">
                <a:pos x="2" y="29"/>
              </a:cxn>
              <a:cxn ang="0">
                <a:pos x="5" y="24"/>
              </a:cxn>
              <a:cxn ang="0">
                <a:pos x="6" y="28"/>
              </a:cxn>
              <a:cxn ang="0">
                <a:pos x="7" y="29"/>
              </a:cxn>
              <a:cxn ang="0">
                <a:pos x="8" y="30"/>
              </a:cxn>
              <a:cxn ang="0">
                <a:pos x="9" y="29"/>
              </a:cxn>
              <a:cxn ang="0">
                <a:pos x="11" y="25"/>
              </a:cxn>
              <a:cxn ang="0">
                <a:pos x="14" y="19"/>
              </a:cxn>
              <a:cxn ang="0">
                <a:pos x="16" y="12"/>
              </a:cxn>
              <a:cxn ang="0">
                <a:pos x="20" y="6"/>
              </a:cxn>
              <a:cxn ang="0">
                <a:pos x="22" y="4"/>
              </a:cxn>
              <a:cxn ang="0">
                <a:pos x="25" y="2"/>
              </a:cxn>
              <a:cxn ang="0">
                <a:pos x="28" y="0"/>
              </a:cxn>
              <a:cxn ang="0">
                <a:pos x="32" y="0"/>
              </a:cxn>
              <a:cxn ang="0">
                <a:pos x="33" y="10"/>
              </a:cxn>
              <a:cxn ang="0">
                <a:pos x="33" y="16"/>
              </a:cxn>
              <a:cxn ang="0">
                <a:pos x="33" y="20"/>
              </a:cxn>
              <a:cxn ang="0">
                <a:pos x="32" y="23"/>
              </a:cxn>
              <a:cxn ang="0">
                <a:pos x="32" y="27"/>
              </a:cxn>
              <a:cxn ang="0">
                <a:pos x="32" y="31"/>
              </a:cxn>
              <a:cxn ang="0">
                <a:pos x="35" y="36"/>
              </a:cxn>
              <a:cxn ang="0">
                <a:pos x="39" y="43"/>
              </a:cxn>
              <a:cxn ang="0">
                <a:pos x="38" y="44"/>
              </a:cxn>
              <a:cxn ang="0">
                <a:pos x="37" y="45"/>
              </a:cxn>
              <a:cxn ang="0">
                <a:pos x="37" y="48"/>
              </a:cxn>
              <a:cxn ang="0">
                <a:pos x="38" y="51"/>
              </a:cxn>
              <a:cxn ang="0">
                <a:pos x="39" y="59"/>
              </a:cxn>
              <a:cxn ang="0">
                <a:pos x="41" y="68"/>
              </a:cxn>
              <a:cxn ang="0">
                <a:pos x="42" y="76"/>
              </a:cxn>
              <a:cxn ang="0">
                <a:pos x="43" y="85"/>
              </a:cxn>
              <a:cxn ang="0">
                <a:pos x="43" y="88"/>
              </a:cxn>
              <a:cxn ang="0">
                <a:pos x="42" y="91"/>
              </a:cxn>
              <a:cxn ang="0">
                <a:pos x="40" y="92"/>
              </a:cxn>
              <a:cxn ang="0">
                <a:pos x="39" y="93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84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6891339" y="2827338"/>
            <a:ext cx="14287" cy="57150"/>
          </a:xfrm>
          <a:custGeom>
            <a:avLst/>
            <a:gdLst/>
            <a:ahLst/>
            <a:cxnLst>
              <a:cxn ang="0">
                <a:pos x="40" y="56"/>
              </a:cxn>
              <a:cxn ang="0">
                <a:pos x="37" y="46"/>
              </a:cxn>
              <a:cxn ang="0">
                <a:pos x="33" y="38"/>
              </a:cxn>
              <a:cxn ang="0">
                <a:pos x="28" y="32"/>
              </a:cxn>
              <a:cxn ang="0">
                <a:pos x="23" y="28"/>
              </a:cxn>
              <a:cxn ang="0">
                <a:pos x="11" y="21"/>
              </a:cxn>
              <a:cxn ang="0">
                <a:pos x="0" y="12"/>
              </a:cxn>
              <a:cxn ang="0">
                <a:pos x="13" y="4"/>
              </a:cxn>
              <a:cxn ang="0">
                <a:pos x="20" y="0"/>
              </a:cxn>
              <a:cxn ang="0">
                <a:pos x="28" y="12"/>
              </a:cxn>
              <a:cxn ang="0">
                <a:pos x="35" y="22"/>
              </a:cxn>
              <a:cxn ang="0">
                <a:pos x="37" y="25"/>
              </a:cxn>
              <a:cxn ang="0">
                <a:pos x="39" y="29"/>
              </a:cxn>
              <a:cxn ang="0">
                <a:pos x="39" y="33"/>
              </a:cxn>
              <a:cxn ang="0">
                <a:pos x="40" y="37"/>
              </a:cxn>
              <a:cxn ang="0">
                <a:pos x="40" y="44"/>
              </a:cxn>
              <a:cxn ang="0">
                <a:pos x="40" y="46"/>
              </a:cxn>
              <a:cxn ang="0">
                <a:pos x="40" y="49"/>
              </a:cxn>
              <a:cxn ang="0">
                <a:pos x="40" y="56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85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8378825" y="3487738"/>
            <a:ext cx="44450" cy="57150"/>
          </a:xfrm>
          <a:custGeom>
            <a:avLst/>
            <a:gdLst/>
            <a:ahLst/>
            <a:cxnLst>
              <a:cxn ang="0">
                <a:pos x="0" y="7"/>
              </a:cxn>
              <a:cxn ang="0">
                <a:pos x="12" y="10"/>
              </a:cxn>
              <a:cxn ang="0">
                <a:pos x="24" y="12"/>
              </a:cxn>
              <a:cxn ang="0">
                <a:pos x="35" y="13"/>
              </a:cxn>
              <a:cxn ang="0">
                <a:pos x="45" y="13"/>
              </a:cxn>
              <a:cxn ang="0">
                <a:pos x="54" y="11"/>
              </a:cxn>
              <a:cxn ang="0">
                <a:pos x="61" y="8"/>
              </a:cxn>
              <a:cxn ang="0">
                <a:pos x="68" y="5"/>
              </a:cxn>
              <a:cxn ang="0">
                <a:pos x="74" y="0"/>
              </a:cxn>
              <a:cxn ang="0">
                <a:pos x="84" y="16"/>
              </a:cxn>
              <a:cxn ang="0">
                <a:pos x="94" y="30"/>
              </a:cxn>
              <a:cxn ang="0">
                <a:pos x="101" y="44"/>
              </a:cxn>
              <a:cxn ang="0">
                <a:pos x="105" y="55"/>
              </a:cxn>
              <a:cxn ang="0">
                <a:pos x="106" y="60"/>
              </a:cxn>
              <a:cxn ang="0">
                <a:pos x="106" y="63"/>
              </a:cxn>
              <a:cxn ang="0">
                <a:pos x="105" y="67"/>
              </a:cxn>
              <a:cxn ang="0">
                <a:pos x="103" y="69"/>
              </a:cxn>
              <a:cxn ang="0">
                <a:pos x="101" y="70"/>
              </a:cxn>
              <a:cxn ang="0">
                <a:pos x="98" y="70"/>
              </a:cxn>
              <a:cxn ang="0">
                <a:pos x="92" y="70"/>
              </a:cxn>
              <a:cxn ang="0">
                <a:pos x="87" y="68"/>
              </a:cxn>
              <a:cxn ang="0">
                <a:pos x="74" y="70"/>
              </a:cxn>
              <a:cxn ang="0">
                <a:pos x="63" y="71"/>
              </a:cxn>
              <a:cxn ang="0">
                <a:pos x="53" y="69"/>
              </a:cxn>
              <a:cxn ang="0">
                <a:pos x="45" y="66"/>
              </a:cxn>
              <a:cxn ang="0">
                <a:pos x="37" y="62"/>
              </a:cxn>
              <a:cxn ang="0">
                <a:pos x="32" y="57"/>
              </a:cxn>
              <a:cxn ang="0">
                <a:pos x="27" y="51"/>
              </a:cxn>
              <a:cxn ang="0">
                <a:pos x="24" y="45"/>
              </a:cxn>
              <a:cxn ang="0">
                <a:pos x="21" y="38"/>
              </a:cxn>
              <a:cxn ang="0">
                <a:pos x="20" y="30"/>
              </a:cxn>
              <a:cxn ang="0">
                <a:pos x="19" y="24"/>
              </a:cxn>
              <a:cxn ang="0">
                <a:pos x="18" y="19"/>
              </a:cxn>
              <a:cxn ang="0">
                <a:pos x="18" y="14"/>
              </a:cxn>
              <a:cxn ang="0">
                <a:pos x="19" y="10"/>
              </a:cxn>
              <a:cxn ang="0">
                <a:pos x="20" y="7"/>
              </a:cxn>
              <a:cxn ang="0">
                <a:pos x="21" y="7"/>
              </a:cxn>
              <a:cxn ang="0">
                <a:pos x="20" y="10"/>
              </a:cxn>
              <a:cxn ang="0">
                <a:pos x="19" y="16"/>
              </a:cxn>
              <a:cxn ang="0">
                <a:pos x="19" y="17"/>
              </a:cxn>
              <a:cxn ang="0">
                <a:pos x="19" y="17"/>
              </a:cxn>
              <a:cxn ang="0">
                <a:pos x="20" y="17"/>
              </a:cxn>
              <a:cxn ang="0">
                <a:pos x="21" y="17"/>
              </a:cxn>
              <a:cxn ang="0">
                <a:pos x="23" y="13"/>
              </a:cxn>
              <a:cxn ang="0">
                <a:pos x="27" y="7"/>
              </a:cxn>
              <a:cxn ang="0">
                <a:pos x="0" y="7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grpSp>
        <p:nvGrpSpPr>
          <p:cNvPr id="2086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4230689" y="5295901"/>
            <a:ext cx="65087" cy="55563"/>
            <a:chOff x="1654" y="3671"/>
            <a:chExt cx="49" cy="17"/>
          </a:xfrm>
        </p:grpSpPr>
        <p:sp>
          <p:nvSpPr>
            <p:cNvPr id="2087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/>
              <a:ahLst/>
              <a:cxnLst>
                <a:cxn ang="0">
                  <a:pos x="26" y="43"/>
                </a:cxn>
                <a:cxn ang="0">
                  <a:pos x="59" y="18"/>
                </a:cxn>
                <a:cxn ang="0">
                  <a:pos x="55" y="14"/>
                </a:cxn>
                <a:cxn ang="0">
                  <a:pos x="51" y="9"/>
                </a:cxn>
                <a:cxn ang="0">
                  <a:pos x="47" y="5"/>
                </a:cxn>
                <a:cxn ang="0">
                  <a:pos x="46" y="0"/>
                </a:cxn>
                <a:cxn ang="0">
                  <a:pos x="41" y="1"/>
                </a:cxn>
                <a:cxn ang="0">
                  <a:pos x="34" y="4"/>
                </a:cxn>
                <a:cxn ang="0">
                  <a:pos x="31" y="6"/>
                </a:cxn>
                <a:cxn ang="0">
                  <a:pos x="29" y="8"/>
                </a:cxn>
                <a:cxn ang="0">
                  <a:pos x="26" y="10"/>
                </a:cxn>
                <a:cxn ang="0">
                  <a:pos x="26" y="12"/>
                </a:cxn>
                <a:cxn ang="0">
                  <a:pos x="20" y="13"/>
                </a:cxn>
                <a:cxn ang="0">
                  <a:pos x="13" y="16"/>
                </a:cxn>
                <a:cxn ang="0">
                  <a:pos x="6" y="20"/>
                </a:cxn>
                <a:cxn ang="0">
                  <a:pos x="0" y="24"/>
                </a:cxn>
                <a:cxn ang="0">
                  <a:pos x="5" y="29"/>
                </a:cxn>
                <a:cxn ang="0">
                  <a:pos x="10" y="34"/>
                </a:cxn>
                <a:cxn ang="0">
                  <a:pos x="18" y="39"/>
                </a:cxn>
                <a:cxn ang="0">
                  <a:pos x="26" y="43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088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4" y="1"/>
                </a:cxn>
                <a:cxn ang="0">
                  <a:pos x="39" y="0"/>
                </a:cxn>
                <a:cxn ang="0">
                  <a:pos x="45" y="1"/>
                </a:cxn>
                <a:cxn ang="0">
                  <a:pos x="51" y="2"/>
                </a:cxn>
                <a:cxn ang="0">
                  <a:pos x="58" y="4"/>
                </a:cxn>
                <a:cxn ang="0">
                  <a:pos x="67" y="8"/>
                </a:cxn>
                <a:cxn ang="0">
                  <a:pos x="55" y="13"/>
                </a:cxn>
                <a:cxn ang="0">
                  <a:pos x="46" y="19"/>
                </a:cxn>
                <a:cxn ang="0">
                  <a:pos x="42" y="22"/>
                </a:cxn>
                <a:cxn ang="0">
                  <a:pos x="36" y="24"/>
                </a:cxn>
                <a:cxn ang="0">
                  <a:pos x="29" y="26"/>
                </a:cxn>
                <a:cxn ang="0">
                  <a:pos x="20" y="26"/>
                </a:cxn>
                <a:cxn ang="0">
                  <a:pos x="24" y="26"/>
                </a:cxn>
                <a:cxn ang="0">
                  <a:pos x="34" y="26"/>
                </a:cxn>
                <a:cxn ang="0">
                  <a:pos x="29" y="34"/>
                </a:cxn>
                <a:cxn ang="0">
                  <a:pos x="25" y="40"/>
                </a:cxn>
                <a:cxn ang="0">
                  <a:pos x="22" y="44"/>
                </a:cxn>
                <a:cxn ang="0">
                  <a:pos x="20" y="46"/>
                </a:cxn>
                <a:cxn ang="0">
                  <a:pos x="12" y="48"/>
                </a:cxn>
                <a:cxn ang="0">
                  <a:pos x="0" y="51"/>
                </a:cxn>
                <a:cxn ang="0">
                  <a:pos x="0" y="2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2089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878263" y="3090864"/>
            <a:ext cx="31750" cy="58737"/>
          </a:xfrm>
          <a:custGeom>
            <a:avLst/>
            <a:gdLst/>
            <a:ahLst/>
            <a:cxnLst>
              <a:cxn ang="0">
                <a:pos x="0" y="15"/>
              </a:cxn>
              <a:cxn ang="0">
                <a:pos x="1" y="19"/>
              </a:cxn>
              <a:cxn ang="0">
                <a:pos x="2" y="21"/>
              </a:cxn>
              <a:cxn ang="0">
                <a:pos x="4" y="24"/>
              </a:cxn>
              <a:cxn ang="0">
                <a:pos x="7" y="26"/>
              </a:cxn>
              <a:cxn ang="0">
                <a:pos x="13" y="29"/>
              </a:cxn>
              <a:cxn ang="0">
                <a:pos x="22" y="31"/>
              </a:cxn>
              <a:cxn ang="0">
                <a:pos x="40" y="33"/>
              </a:cxn>
              <a:cxn ang="0">
                <a:pos x="54" y="34"/>
              </a:cxn>
              <a:cxn ang="0">
                <a:pos x="58" y="33"/>
              </a:cxn>
              <a:cxn ang="0">
                <a:pos x="62" y="32"/>
              </a:cxn>
              <a:cxn ang="0">
                <a:pos x="65" y="29"/>
              </a:cxn>
              <a:cxn ang="0">
                <a:pos x="67" y="27"/>
              </a:cxn>
              <a:cxn ang="0">
                <a:pos x="73" y="21"/>
              </a:cxn>
              <a:cxn ang="0">
                <a:pos x="80" y="15"/>
              </a:cxn>
              <a:cxn ang="0">
                <a:pos x="75" y="10"/>
              </a:cxn>
              <a:cxn ang="0">
                <a:pos x="70" y="7"/>
              </a:cxn>
              <a:cxn ang="0">
                <a:pos x="65" y="4"/>
              </a:cxn>
              <a:cxn ang="0">
                <a:pos x="60" y="2"/>
              </a:cxn>
              <a:cxn ang="0">
                <a:pos x="55" y="0"/>
              </a:cxn>
              <a:cxn ang="0">
                <a:pos x="51" y="0"/>
              </a:cxn>
              <a:cxn ang="0">
                <a:pos x="45" y="1"/>
              </a:cxn>
              <a:cxn ang="0">
                <a:pos x="41" y="2"/>
              </a:cxn>
              <a:cxn ang="0">
                <a:pos x="34" y="2"/>
              </a:cxn>
              <a:cxn ang="0">
                <a:pos x="21" y="2"/>
              </a:cxn>
              <a:cxn ang="0">
                <a:pos x="13" y="3"/>
              </a:cxn>
              <a:cxn ang="0">
                <a:pos x="7" y="5"/>
              </a:cxn>
              <a:cxn ang="0">
                <a:pos x="4" y="7"/>
              </a:cxn>
              <a:cxn ang="0">
                <a:pos x="2" y="9"/>
              </a:cxn>
              <a:cxn ang="0">
                <a:pos x="1" y="11"/>
              </a:cxn>
              <a:cxn ang="0">
                <a:pos x="0" y="15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90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3933825" y="3097214"/>
            <a:ext cx="1588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13"/>
              </a:cxn>
              <a:cxn ang="0">
                <a:pos x="7" y="7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91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3946525" y="3098800"/>
            <a:ext cx="6350" cy="587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3"/>
              </a:cxn>
              <a:cxn ang="0">
                <a:pos x="20" y="6"/>
              </a:cxn>
              <a:cxn ang="0">
                <a:pos x="0" y="0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92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3960814" y="3089275"/>
            <a:ext cx="7937" cy="57150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14" y="0"/>
              </a:cxn>
              <a:cxn ang="0">
                <a:pos x="0" y="12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93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3940176" y="3081339"/>
            <a:ext cx="11113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4"/>
              </a:cxn>
              <a:cxn ang="0">
                <a:pos x="2" y="6"/>
              </a:cxn>
              <a:cxn ang="0">
                <a:pos x="7" y="7"/>
              </a:cxn>
              <a:cxn ang="0">
                <a:pos x="10" y="7"/>
              </a:cxn>
              <a:cxn ang="0">
                <a:pos x="15" y="6"/>
              </a:cxn>
              <a:cxn ang="0">
                <a:pos x="19" y="4"/>
              </a:cxn>
              <a:cxn ang="0">
                <a:pos x="23" y="2"/>
              </a:cxn>
              <a:cxn ang="0">
                <a:pos x="27" y="0"/>
              </a:cxn>
              <a:cxn ang="0">
                <a:pos x="0" y="0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94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3989389" y="3109914"/>
            <a:ext cx="14287" cy="603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1" y="3"/>
              </a:cxn>
              <a:cxn ang="0">
                <a:pos x="27" y="6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95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3997325" y="3106739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96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3997325" y="3132138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97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3997326" y="3127375"/>
            <a:ext cx="11113" cy="58738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2" y="24"/>
              </a:cxn>
              <a:cxn ang="0">
                <a:pos x="6" y="22"/>
              </a:cxn>
              <a:cxn ang="0">
                <a:pos x="9" y="20"/>
              </a:cxn>
              <a:cxn ang="0">
                <a:pos x="12" y="16"/>
              </a:cxn>
              <a:cxn ang="0">
                <a:pos x="15" y="13"/>
              </a:cxn>
              <a:cxn ang="0">
                <a:pos x="18" y="9"/>
              </a:cxn>
              <a:cxn ang="0">
                <a:pos x="19" y="4"/>
              </a:cxn>
              <a:cxn ang="0">
                <a:pos x="20" y="0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98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4003676" y="3155951"/>
            <a:ext cx="17463" cy="55563"/>
          </a:xfrm>
          <a:custGeom>
            <a:avLst/>
            <a:gdLst/>
            <a:ahLst/>
            <a:cxnLst>
              <a:cxn ang="0">
                <a:pos x="13" y="7"/>
              </a:cxn>
              <a:cxn ang="0">
                <a:pos x="0" y="19"/>
              </a:cxn>
              <a:cxn ang="0">
                <a:pos x="10" y="20"/>
              </a:cxn>
              <a:cxn ang="0">
                <a:pos x="19" y="22"/>
              </a:cxn>
              <a:cxn ang="0">
                <a:pos x="27" y="25"/>
              </a:cxn>
              <a:cxn ang="0">
                <a:pos x="33" y="25"/>
              </a:cxn>
              <a:cxn ang="0">
                <a:pos x="33" y="0"/>
              </a:cxn>
              <a:cxn ang="0">
                <a:pos x="27" y="0"/>
              </a:cxn>
              <a:cxn ang="0">
                <a:pos x="13" y="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099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4010026" y="3203575"/>
            <a:ext cx="15875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6"/>
              </a:cxn>
              <a:cxn ang="0">
                <a:pos x="6" y="11"/>
              </a:cxn>
              <a:cxn ang="0">
                <a:pos x="10" y="14"/>
              </a:cxn>
              <a:cxn ang="0">
                <a:pos x="15" y="16"/>
              </a:cxn>
              <a:cxn ang="0">
                <a:pos x="27" y="18"/>
              </a:cxn>
              <a:cxn ang="0">
                <a:pos x="40" y="18"/>
              </a:cxn>
              <a:cxn ang="0">
                <a:pos x="40" y="0"/>
              </a:cxn>
              <a:cxn ang="0">
                <a:pos x="30" y="0"/>
              </a:cxn>
              <a:cxn ang="0">
                <a:pos x="20" y="0"/>
              </a:cxn>
              <a:cxn ang="0">
                <a:pos x="10" y="0"/>
              </a:cxn>
              <a:cxn ang="0">
                <a:pos x="0" y="0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00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4019551" y="3228975"/>
            <a:ext cx="3175" cy="57150"/>
          </a:xfrm>
          <a:custGeom>
            <a:avLst/>
            <a:gdLst/>
            <a:ahLst/>
            <a:cxnLst>
              <a:cxn ang="0">
                <a:pos x="4" y="32"/>
              </a:cxn>
              <a:cxn ang="0">
                <a:pos x="6" y="28"/>
              </a:cxn>
              <a:cxn ang="0">
                <a:pos x="8" y="25"/>
              </a:cxn>
              <a:cxn ang="0">
                <a:pos x="9" y="22"/>
              </a:cxn>
              <a:cxn ang="0">
                <a:pos x="10" y="18"/>
              </a:cxn>
              <a:cxn ang="0">
                <a:pos x="11" y="9"/>
              </a:cxn>
              <a:cxn ang="0">
                <a:pos x="11" y="0"/>
              </a:cxn>
              <a:cxn ang="0">
                <a:pos x="6" y="3"/>
              </a:cxn>
              <a:cxn ang="0">
                <a:pos x="3" y="7"/>
              </a:cxn>
              <a:cxn ang="0">
                <a:pos x="1" y="11"/>
              </a:cxn>
              <a:cxn ang="0">
                <a:pos x="0" y="16"/>
              </a:cxn>
              <a:cxn ang="0">
                <a:pos x="0" y="20"/>
              </a:cxn>
              <a:cxn ang="0">
                <a:pos x="1" y="24"/>
              </a:cxn>
              <a:cxn ang="0">
                <a:pos x="2" y="28"/>
              </a:cxn>
              <a:cxn ang="0">
                <a:pos x="4" y="32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01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4041775" y="3259138"/>
            <a:ext cx="1588" cy="5556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4"/>
              </a:cxn>
              <a:cxn ang="0">
                <a:pos x="14" y="12"/>
              </a:cxn>
              <a:cxn ang="0">
                <a:pos x="0" y="0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02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4003676" y="3271839"/>
            <a:ext cx="15875" cy="58737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7" y="15"/>
              </a:cxn>
              <a:cxn ang="0">
                <a:pos x="13" y="18"/>
              </a:cxn>
              <a:cxn ang="0">
                <a:pos x="22" y="7"/>
              </a:cxn>
              <a:cxn ang="0">
                <a:pos x="27" y="0"/>
              </a:cxn>
              <a:cxn ang="0">
                <a:pos x="22" y="0"/>
              </a:cxn>
              <a:cxn ang="0">
                <a:pos x="18" y="1"/>
              </a:cxn>
              <a:cxn ang="0">
                <a:pos x="13" y="2"/>
              </a:cxn>
              <a:cxn ang="0">
                <a:pos x="10" y="4"/>
              </a:cxn>
              <a:cxn ang="0">
                <a:pos x="5" y="8"/>
              </a:cxn>
              <a:cxn ang="0">
                <a:pos x="0" y="12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03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3989388" y="3336925"/>
            <a:ext cx="23812" cy="57150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1" y="39"/>
              </a:cxn>
              <a:cxn ang="0">
                <a:pos x="2" y="41"/>
              </a:cxn>
              <a:cxn ang="0">
                <a:pos x="4" y="43"/>
              </a:cxn>
              <a:cxn ang="0">
                <a:pos x="6" y="45"/>
              </a:cxn>
              <a:cxn ang="0">
                <a:pos x="12" y="48"/>
              </a:cxn>
              <a:cxn ang="0">
                <a:pos x="14" y="49"/>
              </a:cxn>
              <a:cxn ang="0">
                <a:pos x="18" y="49"/>
              </a:cxn>
              <a:cxn ang="0">
                <a:pos x="24" y="46"/>
              </a:cxn>
              <a:cxn ang="0">
                <a:pos x="29" y="42"/>
              </a:cxn>
              <a:cxn ang="0">
                <a:pos x="35" y="39"/>
              </a:cxn>
              <a:cxn ang="0">
                <a:pos x="39" y="35"/>
              </a:cxn>
              <a:cxn ang="0">
                <a:pos x="44" y="31"/>
              </a:cxn>
              <a:cxn ang="0">
                <a:pos x="46" y="27"/>
              </a:cxn>
              <a:cxn ang="0">
                <a:pos x="47" y="24"/>
              </a:cxn>
              <a:cxn ang="0">
                <a:pos x="47" y="12"/>
              </a:cxn>
              <a:cxn ang="0">
                <a:pos x="47" y="0"/>
              </a:cxn>
              <a:cxn ang="0">
                <a:pos x="27" y="0"/>
              </a:cxn>
              <a:cxn ang="0">
                <a:pos x="17" y="8"/>
              </a:cxn>
              <a:cxn ang="0">
                <a:pos x="9" y="16"/>
              </a:cxn>
              <a:cxn ang="0">
                <a:pos x="5" y="20"/>
              </a:cxn>
              <a:cxn ang="0">
                <a:pos x="2" y="25"/>
              </a:cxn>
              <a:cxn ang="0">
                <a:pos x="1" y="30"/>
              </a:cxn>
              <a:cxn ang="0">
                <a:pos x="0" y="36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04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4008438" y="3313113"/>
            <a:ext cx="12700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4"/>
              </a:cxn>
              <a:cxn ang="0">
                <a:pos x="3" y="7"/>
              </a:cxn>
              <a:cxn ang="0">
                <a:pos x="6" y="8"/>
              </a:cxn>
              <a:cxn ang="0">
                <a:pos x="11" y="9"/>
              </a:cxn>
              <a:cxn ang="0">
                <a:pos x="15" y="8"/>
              </a:cxn>
              <a:cxn ang="0">
                <a:pos x="20" y="7"/>
              </a:cxn>
              <a:cxn ang="0">
                <a:pos x="23" y="4"/>
              </a:cxn>
              <a:cxn ang="0">
                <a:pos x="26" y="0"/>
              </a:cxn>
              <a:cxn ang="0">
                <a:pos x="0" y="0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05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3490914" y="2984500"/>
            <a:ext cx="15875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8"/>
              </a:cxn>
              <a:cxn ang="0">
                <a:pos x="6" y="18"/>
              </a:cxn>
              <a:cxn ang="0">
                <a:pos x="13" y="18"/>
              </a:cxn>
              <a:cxn ang="0">
                <a:pos x="23" y="17"/>
              </a:cxn>
              <a:cxn ang="0">
                <a:pos x="30" y="14"/>
              </a:cxn>
              <a:cxn ang="0">
                <a:pos x="34" y="12"/>
              </a:cxn>
              <a:cxn ang="0">
                <a:pos x="37" y="10"/>
              </a:cxn>
              <a:cxn ang="0">
                <a:pos x="38" y="8"/>
              </a:cxn>
              <a:cxn ang="0">
                <a:pos x="39" y="6"/>
              </a:cxn>
              <a:cxn ang="0">
                <a:pos x="29" y="5"/>
              </a:cxn>
              <a:cxn ang="0">
                <a:pos x="19" y="3"/>
              </a:cxn>
              <a:cxn ang="0">
                <a:pos x="10" y="0"/>
              </a:cxn>
              <a:cxn ang="0">
                <a:pos x="0" y="0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grpSp>
        <p:nvGrpSpPr>
          <p:cNvPr id="2106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3616326" y="2817813"/>
            <a:ext cx="131763" cy="195262"/>
            <a:chOff x="1199" y="2121"/>
            <a:chExt cx="97" cy="123"/>
          </a:xfrm>
        </p:grpSpPr>
        <p:sp>
          <p:nvSpPr>
            <p:cNvPr id="2107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7" y="25"/>
                </a:cxn>
                <a:cxn ang="0">
                  <a:pos x="15" y="24"/>
                </a:cxn>
                <a:cxn ang="0">
                  <a:pos x="23" y="22"/>
                </a:cxn>
                <a:cxn ang="0">
                  <a:pos x="30" y="19"/>
                </a:cxn>
                <a:cxn ang="0">
                  <a:pos x="38" y="15"/>
                </a:cxn>
                <a:cxn ang="0">
                  <a:pos x="43" y="11"/>
                </a:cxn>
                <a:cxn ang="0">
                  <a:pos x="49" y="6"/>
                </a:cxn>
                <a:cxn ang="0">
                  <a:pos x="52" y="0"/>
                </a:cxn>
                <a:cxn ang="0">
                  <a:pos x="40" y="0"/>
                </a:cxn>
                <a:cxn ang="0">
                  <a:pos x="31" y="0"/>
                </a:cxn>
                <a:cxn ang="0">
                  <a:pos x="23" y="1"/>
                </a:cxn>
                <a:cxn ang="0">
                  <a:pos x="16" y="3"/>
                </a:cxn>
                <a:cxn ang="0">
                  <a:pos x="11" y="6"/>
                </a:cxn>
                <a:cxn ang="0">
                  <a:pos x="5" y="10"/>
                </a:cxn>
                <a:cxn ang="0">
                  <a:pos x="2" y="16"/>
                </a:cxn>
                <a:cxn ang="0">
                  <a:pos x="0" y="25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08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0" y="13"/>
                </a:cxn>
                <a:cxn ang="0">
                  <a:pos x="9" y="13"/>
                </a:cxn>
                <a:cxn ang="0">
                  <a:pos x="16" y="13"/>
                </a:cxn>
                <a:cxn ang="0">
                  <a:pos x="24" y="11"/>
                </a:cxn>
                <a:cxn ang="0">
                  <a:pos x="33" y="6"/>
                </a:cxn>
                <a:cxn ang="0">
                  <a:pos x="24" y="3"/>
                </a:cxn>
                <a:cxn ang="0">
                  <a:pos x="16" y="1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09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/>
              <a:ahLst/>
              <a:cxnLst>
                <a:cxn ang="0">
                  <a:pos x="26" y="18"/>
                </a:cxn>
                <a:cxn ang="0">
                  <a:pos x="0" y="0"/>
                </a:cxn>
                <a:cxn ang="0">
                  <a:pos x="26" y="0"/>
                </a:cxn>
                <a:cxn ang="0">
                  <a:pos x="29" y="4"/>
                </a:cxn>
                <a:cxn ang="0">
                  <a:pos x="33" y="8"/>
                </a:cxn>
                <a:cxn ang="0">
                  <a:pos x="36" y="11"/>
                </a:cxn>
                <a:cxn ang="0">
                  <a:pos x="39" y="14"/>
                </a:cxn>
                <a:cxn ang="0">
                  <a:pos x="47" y="17"/>
                </a:cxn>
                <a:cxn ang="0">
                  <a:pos x="54" y="18"/>
                </a:cxn>
                <a:cxn ang="0">
                  <a:pos x="58" y="30"/>
                </a:cxn>
                <a:cxn ang="0">
                  <a:pos x="62" y="40"/>
                </a:cxn>
                <a:cxn ang="0">
                  <a:pos x="63" y="45"/>
                </a:cxn>
                <a:cxn ang="0">
                  <a:pos x="66" y="50"/>
                </a:cxn>
                <a:cxn ang="0">
                  <a:pos x="66" y="55"/>
                </a:cxn>
                <a:cxn ang="0">
                  <a:pos x="67" y="61"/>
                </a:cxn>
                <a:cxn ang="0">
                  <a:pos x="63" y="74"/>
                </a:cxn>
                <a:cxn ang="0">
                  <a:pos x="60" y="86"/>
                </a:cxn>
                <a:cxn ang="0">
                  <a:pos x="55" y="69"/>
                </a:cxn>
                <a:cxn ang="0">
                  <a:pos x="51" y="54"/>
                </a:cxn>
                <a:cxn ang="0">
                  <a:pos x="50" y="47"/>
                </a:cxn>
                <a:cxn ang="0">
                  <a:pos x="50" y="41"/>
                </a:cxn>
                <a:cxn ang="0">
                  <a:pos x="51" y="35"/>
                </a:cxn>
                <a:cxn ang="0">
                  <a:pos x="54" y="30"/>
                </a:cxn>
                <a:cxn ang="0">
                  <a:pos x="44" y="30"/>
                </a:cxn>
                <a:cxn ang="0">
                  <a:pos x="35" y="29"/>
                </a:cxn>
                <a:cxn ang="0">
                  <a:pos x="32" y="27"/>
                </a:cxn>
                <a:cxn ang="0">
                  <a:pos x="28" y="25"/>
                </a:cxn>
                <a:cxn ang="0">
                  <a:pos x="27" y="22"/>
                </a:cxn>
                <a:cxn ang="0">
                  <a:pos x="26" y="18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10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/>
              <a:ahLst/>
              <a:cxnLst>
                <a:cxn ang="0">
                  <a:pos x="27" y="12"/>
                </a:cxn>
                <a:cxn ang="0">
                  <a:pos x="20" y="6"/>
                </a:cxn>
                <a:cxn ang="0">
                  <a:pos x="14" y="0"/>
                </a:cxn>
                <a:cxn ang="0">
                  <a:pos x="9" y="5"/>
                </a:cxn>
                <a:cxn ang="0">
                  <a:pos x="5" y="13"/>
                </a:cxn>
                <a:cxn ang="0">
                  <a:pos x="1" y="21"/>
                </a:cxn>
                <a:cxn ang="0">
                  <a:pos x="0" y="30"/>
                </a:cxn>
                <a:cxn ang="0">
                  <a:pos x="0" y="36"/>
                </a:cxn>
                <a:cxn ang="0">
                  <a:pos x="3" y="43"/>
                </a:cxn>
                <a:cxn ang="0">
                  <a:pos x="5" y="50"/>
                </a:cxn>
                <a:cxn ang="0">
                  <a:pos x="8" y="58"/>
                </a:cxn>
                <a:cxn ang="0">
                  <a:pos x="12" y="66"/>
                </a:cxn>
                <a:cxn ang="0">
                  <a:pos x="17" y="74"/>
                </a:cxn>
                <a:cxn ang="0">
                  <a:pos x="22" y="80"/>
                </a:cxn>
                <a:cxn ang="0">
                  <a:pos x="27" y="86"/>
                </a:cxn>
                <a:cxn ang="0">
                  <a:pos x="31" y="79"/>
                </a:cxn>
                <a:cxn ang="0">
                  <a:pos x="37" y="69"/>
                </a:cxn>
                <a:cxn ang="0">
                  <a:pos x="42" y="57"/>
                </a:cxn>
                <a:cxn ang="0">
                  <a:pos x="46" y="45"/>
                </a:cxn>
                <a:cxn ang="0">
                  <a:pos x="49" y="39"/>
                </a:cxn>
                <a:cxn ang="0">
                  <a:pos x="49" y="33"/>
                </a:cxn>
                <a:cxn ang="0">
                  <a:pos x="49" y="26"/>
                </a:cxn>
                <a:cxn ang="0">
                  <a:pos x="48" y="22"/>
                </a:cxn>
                <a:cxn ang="0">
                  <a:pos x="44" y="18"/>
                </a:cxn>
                <a:cxn ang="0">
                  <a:pos x="40" y="15"/>
                </a:cxn>
                <a:cxn ang="0">
                  <a:pos x="34" y="13"/>
                </a:cxn>
                <a:cxn ang="0">
                  <a:pos x="27" y="12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11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1" y="4"/>
                </a:cxn>
                <a:cxn ang="0">
                  <a:pos x="0" y="6"/>
                </a:cxn>
                <a:cxn ang="0">
                  <a:pos x="0" y="10"/>
                </a:cxn>
                <a:cxn ang="0">
                  <a:pos x="0" y="12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12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9"/>
                </a:cxn>
                <a:cxn ang="0">
                  <a:pos x="22" y="17"/>
                </a:cxn>
                <a:cxn ang="0">
                  <a:pos x="32" y="24"/>
                </a:cxn>
                <a:cxn ang="0">
                  <a:pos x="39" y="30"/>
                </a:cxn>
                <a:cxn ang="0">
                  <a:pos x="36" y="39"/>
                </a:cxn>
                <a:cxn ang="0">
                  <a:pos x="33" y="48"/>
                </a:cxn>
                <a:cxn ang="0">
                  <a:pos x="18" y="36"/>
                </a:cxn>
                <a:cxn ang="0">
                  <a:pos x="8" y="26"/>
                </a:cxn>
                <a:cxn ang="0">
                  <a:pos x="4" y="21"/>
                </a:cxn>
                <a:cxn ang="0">
                  <a:pos x="2" y="15"/>
                </a:cxn>
                <a:cxn ang="0">
                  <a:pos x="0" y="8"/>
                </a:cxn>
                <a:cxn ang="0">
                  <a:pos x="0" y="0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13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11" y="9"/>
                </a:cxn>
                <a:cxn ang="0">
                  <a:pos x="15" y="16"/>
                </a:cxn>
                <a:cxn ang="0">
                  <a:pos x="16" y="22"/>
                </a:cxn>
                <a:cxn ang="0">
                  <a:pos x="16" y="27"/>
                </a:cxn>
                <a:cxn ang="0">
                  <a:pos x="15" y="31"/>
                </a:cxn>
                <a:cxn ang="0">
                  <a:pos x="11" y="35"/>
                </a:cxn>
                <a:cxn ang="0">
                  <a:pos x="7" y="39"/>
                </a:cxn>
                <a:cxn ang="0">
                  <a:pos x="0" y="43"/>
                </a:cxn>
                <a:cxn ang="0">
                  <a:pos x="2" y="28"/>
                </a:cxn>
                <a:cxn ang="0">
                  <a:pos x="4" y="18"/>
                </a:cxn>
                <a:cxn ang="0">
                  <a:pos x="6" y="9"/>
                </a:cxn>
                <a:cxn ang="0">
                  <a:pos x="7" y="0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14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/>
              <a:ahLst/>
              <a:cxnLst>
                <a:cxn ang="0">
                  <a:pos x="24" y="36"/>
                </a:cxn>
                <a:cxn ang="0">
                  <a:pos x="19" y="27"/>
                </a:cxn>
                <a:cxn ang="0">
                  <a:pos x="15" y="18"/>
                </a:cxn>
                <a:cxn ang="0">
                  <a:pos x="12" y="9"/>
                </a:cxn>
                <a:cxn ang="0">
                  <a:pos x="11" y="0"/>
                </a:cxn>
                <a:cxn ang="0">
                  <a:pos x="6" y="10"/>
                </a:cxn>
                <a:cxn ang="0">
                  <a:pos x="3" y="19"/>
                </a:cxn>
                <a:cxn ang="0">
                  <a:pos x="1" y="26"/>
                </a:cxn>
                <a:cxn ang="0">
                  <a:pos x="0" y="31"/>
                </a:cxn>
                <a:cxn ang="0">
                  <a:pos x="1" y="33"/>
                </a:cxn>
                <a:cxn ang="0">
                  <a:pos x="2" y="35"/>
                </a:cxn>
                <a:cxn ang="0">
                  <a:pos x="4" y="36"/>
                </a:cxn>
                <a:cxn ang="0">
                  <a:pos x="6" y="37"/>
                </a:cxn>
                <a:cxn ang="0">
                  <a:pos x="14" y="37"/>
                </a:cxn>
                <a:cxn ang="0">
                  <a:pos x="24" y="36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15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34" y="13"/>
                </a:cxn>
                <a:cxn ang="0">
                  <a:pos x="34" y="25"/>
                </a:cxn>
                <a:cxn ang="0">
                  <a:pos x="33" y="32"/>
                </a:cxn>
                <a:cxn ang="0">
                  <a:pos x="31" y="38"/>
                </a:cxn>
                <a:cxn ang="0">
                  <a:pos x="29" y="43"/>
                </a:cxn>
                <a:cxn ang="0">
                  <a:pos x="24" y="47"/>
                </a:cxn>
                <a:cxn ang="0">
                  <a:pos x="20" y="51"/>
                </a:cxn>
                <a:cxn ang="0">
                  <a:pos x="14" y="53"/>
                </a:cxn>
                <a:cxn ang="0">
                  <a:pos x="8" y="55"/>
                </a:cxn>
                <a:cxn ang="0">
                  <a:pos x="0" y="55"/>
                </a:cxn>
                <a:cxn ang="0">
                  <a:pos x="9" y="36"/>
                </a:cxn>
                <a:cxn ang="0">
                  <a:pos x="14" y="21"/>
                </a:cxn>
                <a:cxn ang="0">
                  <a:pos x="18" y="16"/>
                </a:cxn>
                <a:cxn ang="0">
                  <a:pos x="22" y="10"/>
                </a:cxn>
                <a:cxn ang="0">
                  <a:pos x="28" y="5"/>
                </a:cxn>
                <a:cxn ang="0">
                  <a:pos x="34" y="0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16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4"/>
                </a:cxn>
                <a:cxn ang="0">
                  <a:pos x="6" y="7"/>
                </a:cxn>
                <a:cxn ang="0">
                  <a:pos x="10" y="9"/>
                </a:cxn>
                <a:cxn ang="0">
                  <a:pos x="14" y="11"/>
                </a:cxn>
                <a:cxn ang="0">
                  <a:pos x="23" y="12"/>
                </a:cxn>
                <a:cxn ang="0">
                  <a:pos x="33" y="12"/>
                </a:cxn>
                <a:cxn ang="0">
                  <a:pos x="28" y="8"/>
                </a:cxn>
                <a:cxn ang="0">
                  <a:pos x="19" y="4"/>
                </a:cxn>
                <a:cxn ang="0">
                  <a:pos x="10" y="1"/>
                </a:cxn>
                <a:cxn ang="0">
                  <a:pos x="0" y="0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2117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9429750" y="4244975"/>
            <a:ext cx="12700" cy="57150"/>
          </a:xfrm>
          <a:custGeom>
            <a:avLst/>
            <a:gdLst/>
            <a:ahLst/>
            <a:cxnLst>
              <a:cxn ang="0">
                <a:pos x="0" y="62"/>
              </a:cxn>
              <a:cxn ang="0">
                <a:pos x="0" y="53"/>
              </a:cxn>
              <a:cxn ang="0">
                <a:pos x="0" y="45"/>
              </a:cxn>
              <a:cxn ang="0">
                <a:pos x="0" y="37"/>
              </a:cxn>
              <a:cxn ang="0">
                <a:pos x="0" y="31"/>
              </a:cxn>
              <a:cxn ang="0">
                <a:pos x="0" y="26"/>
              </a:cxn>
              <a:cxn ang="0">
                <a:pos x="2" y="22"/>
              </a:cxn>
              <a:cxn ang="0">
                <a:pos x="4" y="17"/>
              </a:cxn>
              <a:cxn ang="0">
                <a:pos x="8" y="13"/>
              </a:cxn>
              <a:cxn ang="0">
                <a:pos x="14" y="6"/>
              </a:cxn>
              <a:cxn ang="0">
                <a:pos x="20" y="0"/>
              </a:cxn>
              <a:cxn ang="0">
                <a:pos x="26" y="6"/>
              </a:cxn>
              <a:cxn ang="0">
                <a:pos x="33" y="13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18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9439276" y="4335464"/>
            <a:ext cx="9525" cy="58737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0" y="0"/>
              </a:cxn>
              <a:cxn ang="0">
                <a:pos x="26" y="0"/>
              </a:cxn>
              <a:cxn ang="0">
                <a:pos x="6" y="12"/>
              </a:cxn>
              <a:cxn ang="0">
                <a:pos x="6" y="6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19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9553575" y="4244976"/>
            <a:ext cx="77788" cy="130175"/>
          </a:xfrm>
          <a:custGeom>
            <a:avLst/>
            <a:gdLst/>
            <a:ahLst/>
            <a:cxnLst>
              <a:cxn ang="0">
                <a:pos x="180" y="222"/>
              </a:cxn>
              <a:cxn ang="0">
                <a:pos x="175" y="223"/>
              </a:cxn>
              <a:cxn ang="0">
                <a:pos x="171" y="223"/>
              </a:cxn>
              <a:cxn ang="0">
                <a:pos x="167" y="225"/>
              </a:cxn>
              <a:cxn ang="0">
                <a:pos x="164" y="227"/>
              </a:cxn>
              <a:cxn ang="0">
                <a:pos x="158" y="232"/>
              </a:cxn>
              <a:cxn ang="0">
                <a:pos x="153" y="240"/>
              </a:cxn>
              <a:cxn ang="0">
                <a:pos x="140" y="232"/>
              </a:cxn>
              <a:cxn ang="0">
                <a:pos x="131" y="223"/>
              </a:cxn>
              <a:cxn ang="0">
                <a:pos x="123" y="214"/>
              </a:cxn>
              <a:cxn ang="0">
                <a:pos x="118" y="206"/>
              </a:cxn>
              <a:cxn ang="0">
                <a:pos x="112" y="195"/>
              </a:cxn>
              <a:cxn ang="0">
                <a:pos x="106" y="185"/>
              </a:cxn>
              <a:cxn ang="0">
                <a:pos x="98" y="174"/>
              </a:cxn>
              <a:cxn ang="0">
                <a:pos x="87" y="161"/>
              </a:cxn>
              <a:cxn ang="0">
                <a:pos x="82" y="153"/>
              </a:cxn>
              <a:cxn ang="0">
                <a:pos x="75" y="146"/>
              </a:cxn>
              <a:cxn ang="0">
                <a:pos x="70" y="139"/>
              </a:cxn>
              <a:cxn ang="0">
                <a:pos x="62" y="133"/>
              </a:cxn>
              <a:cxn ang="0">
                <a:pos x="48" y="121"/>
              </a:cxn>
              <a:cxn ang="0">
                <a:pos x="33" y="110"/>
              </a:cxn>
              <a:cxn ang="0">
                <a:pos x="27" y="104"/>
              </a:cxn>
              <a:cxn ang="0">
                <a:pos x="21" y="98"/>
              </a:cxn>
              <a:cxn ang="0">
                <a:pos x="15" y="92"/>
              </a:cxn>
              <a:cxn ang="0">
                <a:pos x="10" y="84"/>
              </a:cxn>
              <a:cxn ang="0">
                <a:pos x="6" y="77"/>
              </a:cxn>
              <a:cxn ang="0">
                <a:pos x="4" y="68"/>
              </a:cxn>
              <a:cxn ang="0">
                <a:pos x="1" y="60"/>
              </a:cxn>
              <a:cxn ang="0">
                <a:pos x="0" y="50"/>
              </a:cxn>
              <a:cxn ang="0">
                <a:pos x="0" y="35"/>
              </a:cxn>
              <a:cxn ang="0">
                <a:pos x="0" y="25"/>
              </a:cxn>
              <a:cxn ang="0">
                <a:pos x="0" y="15"/>
              </a:cxn>
              <a:cxn ang="0">
                <a:pos x="0" y="0"/>
              </a:cxn>
              <a:cxn ang="0">
                <a:pos x="10" y="8"/>
              </a:cxn>
              <a:cxn ang="0">
                <a:pos x="19" y="17"/>
              </a:cxn>
              <a:cxn ang="0">
                <a:pos x="27" y="27"/>
              </a:cxn>
              <a:cxn ang="0">
                <a:pos x="34" y="38"/>
              </a:cxn>
              <a:cxn ang="0">
                <a:pos x="41" y="48"/>
              </a:cxn>
              <a:cxn ang="0">
                <a:pos x="46" y="58"/>
              </a:cxn>
              <a:cxn ang="0">
                <a:pos x="51" y="66"/>
              </a:cxn>
              <a:cxn ang="0">
                <a:pos x="54" y="74"/>
              </a:cxn>
              <a:cxn ang="0">
                <a:pos x="60" y="86"/>
              </a:cxn>
              <a:cxn ang="0">
                <a:pos x="66" y="98"/>
              </a:cxn>
              <a:cxn ang="0">
                <a:pos x="74" y="107"/>
              </a:cxn>
              <a:cxn ang="0">
                <a:pos x="82" y="116"/>
              </a:cxn>
              <a:cxn ang="0">
                <a:pos x="100" y="133"/>
              </a:cxn>
              <a:cxn ang="0">
                <a:pos x="119" y="149"/>
              </a:cxn>
              <a:cxn ang="0">
                <a:pos x="139" y="164"/>
              </a:cxn>
              <a:cxn ang="0">
                <a:pos x="155" y="180"/>
              </a:cxn>
              <a:cxn ang="0">
                <a:pos x="163" y="189"/>
              </a:cxn>
              <a:cxn ang="0">
                <a:pos x="169" y="199"/>
              </a:cxn>
              <a:cxn ang="0">
                <a:pos x="175" y="210"/>
              </a:cxn>
              <a:cxn ang="0">
                <a:pos x="180" y="222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20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9553575" y="4217988"/>
            <a:ext cx="14288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5"/>
              </a:cxn>
              <a:cxn ang="0">
                <a:pos x="3" y="11"/>
              </a:cxn>
              <a:cxn ang="0">
                <a:pos x="4" y="14"/>
              </a:cxn>
              <a:cxn ang="0">
                <a:pos x="4" y="19"/>
              </a:cxn>
              <a:cxn ang="0">
                <a:pos x="3" y="24"/>
              </a:cxn>
              <a:cxn ang="0">
                <a:pos x="0" y="30"/>
              </a:cxn>
              <a:cxn ang="0">
                <a:pos x="17" y="27"/>
              </a:cxn>
              <a:cxn ang="0">
                <a:pos x="27" y="24"/>
              </a:cxn>
              <a:cxn ang="0">
                <a:pos x="23" y="20"/>
              </a:cxn>
              <a:cxn ang="0">
                <a:pos x="17" y="12"/>
              </a:cxn>
              <a:cxn ang="0">
                <a:pos x="11" y="8"/>
              </a:cxn>
              <a:cxn ang="0">
                <a:pos x="7" y="4"/>
              </a:cxn>
              <a:cxn ang="0">
                <a:pos x="4" y="1"/>
              </a:cxn>
              <a:cxn ang="0">
                <a:pos x="0" y="0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grpSp>
        <p:nvGrpSpPr>
          <p:cNvPr id="2121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9244014" y="4738688"/>
            <a:ext cx="458787" cy="404812"/>
            <a:chOff x="5372" y="3323"/>
            <a:chExt cx="341" cy="253"/>
          </a:xfrm>
        </p:grpSpPr>
        <p:sp>
          <p:nvSpPr>
            <p:cNvPr id="2122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4" y="26"/>
                </a:cxn>
                <a:cxn ang="0">
                  <a:pos x="8" y="21"/>
                </a:cxn>
                <a:cxn ang="0">
                  <a:pos x="15" y="16"/>
                </a:cxn>
                <a:cxn ang="0">
                  <a:pos x="21" y="11"/>
                </a:cxn>
                <a:cxn ang="0">
                  <a:pos x="29" y="7"/>
                </a:cxn>
                <a:cxn ang="0">
                  <a:pos x="38" y="3"/>
                </a:cxn>
                <a:cxn ang="0">
                  <a:pos x="45" y="1"/>
                </a:cxn>
                <a:cxn ang="0">
                  <a:pos x="53" y="0"/>
                </a:cxn>
                <a:cxn ang="0">
                  <a:pos x="53" y="18"/>
                </a:cxn>
                <a:cxn ang="0">
                  <a:pos x="38" y="24"/>
                </a:cxn>
                <a:cxn ang="0">
                  <a:pos x="27" y="30"/>
                </a:cxn>
                <a:cxn ang="0">
                  <a:pos x="21" y="32"/>
                </a:cxn>
                <a:cxn ang="0">
                  <a:pos x="16" y="33"/>
                </a:cxn>
                <a:cxn ang="0">
                  <a:pos x="9" y="33"/>
                </a:cxn>
                <a:cxn ang="0">
                  <a:pos x="0" y="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123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/>
              <a:ahLst/>
              <a:cxnLst>
                <a:cxn ang="0">
                  <a:pos x="24" y="296"/>
                </a:cxn>
                <a:cxn ang="0">
                  <a:pos x="50" y="290"/>
                </a:cxn>
                <a:cxn ang="0">
                  <a:pos x="65" y="277"/>
                </a:cxn>
                <a:cxn ang="0">
                  <a:pos x="79" y="253"/>
                </a:cxn>
                <a:cxn ang="0">
                  <a:pos x="100" y="256"/>
                </a:cxn>
                <a:cxn ang="0">
                  <a:pos x="126" y="253"/>
                </a:cxn>
                <a:cxn ang="0">
                  <a:pos x="141" y="247"/>
                </a:cxn>
                <a:cxn ang="0">
                  <a:pos x="162" y="229"/>
                </a:cxn>
                <a:cxn ang="0">
                  <a:pos x="180" y="208"/>
                </a:cxn>
                <a:cxn ang="0">
                  <a:pos x="211" y="192"/>
                </a:cxn>
                <a:cxn ang="0">
                  <a:pos x="260" y="175"/>
                </a:cxn>
                <a:cxn ang="0">
                  <a:pos x="329" y="152"/>
                </a:cxn>
                <a:cxn ang="0">
                  <a:pos x="361" y="137"/>
                </a:cxn>
                <a:cxn ang="0">
                  <a:pos x="392" y="130"/>
                </a:cxn>
                <a:cxn ang="0">
                  <a:pos x="406" y="127"/>
                </a:cxn>
                <a:cxn ang="0">
                  <a:pos x="440" y="107"/>
                </a:cxn>
                <a:cxn ang="0">
                  <a:pos x="469" y="80"/>
                </a:cxn>
                <a:cxn ang="0">
                  <a:pos x="478" y="63"/>
                </a:cxn>
                <a:cxn ang="0">
                  <a:pos x="504" y="58"/>
                </a:cxn>
                <a:cxn ang="0">
                  <a:pos x="537" y="36"/>
                </a:cxn>
                <a:cxn ang="0">
                  <a:pos x="568" y="11"/>
                </a:cxn>
                <a:cxn ang="0">
                  <a:pos x="591" y="0"/>
                </a:cxn>
                <a:cxn ang="0">
                  <a:pos x="602" y="22"/>
                </a:cxn>
                <a:cxn ang="0">
                  <a:pos x="617" y="30"/>
                </a:cxn>
                <a:cxn ang="0">
                  <a:pos x="625" y="46"/>
                </a:cxn>
                <a:cxn ang="0">
                  <a:pos x="601" y="88"/>
                </a:cxn>
                <a:cxn ang="0">
                  <a:pos x="568" y="125"/>
                </a:cxn>
                <a:cxn ang="0">
                  <a:pos x="529" y="154"/>
                </a:cxn>
                <a:cxn ang="0">
                  <a:pos x="487" y="173"/>
                </a:cxn>
                <a:cxn ang="0">
                  <a:pos x="445" y="180"/>
                </a:cxn>
                <a:cxn ang="0">
                  <a:pos x="438" y="197"/>
                </a:cxn>
                <a:cxn ang="0">
                  <a:pos x="433" y="200"/>
                </a:cxn>
                <a:cxn ang="0">
                  <a:pos x="395" y="199"/>
                </a:cxn>
                <a:cxn ang="0">
                  <a:pos x="367" y="210"/>
                </a:cxn>
                <a:cxn ang="0">
                  <a:pos x="347" y="212"/>
                </a:cxn>
                <a:cxn ang="0">
                  <a:pos x="338" y="204"/>
                </a:cxn>
                <a:cxn ang="0">
                  <a:pos x="313" y="241"/>
                </a:cxn>
                <a:cxn ang="0">
                  <a:pos x="272" y="280"/>
                </a:cxn>
                <a:cxn ang="0">
                  <a:pos x="220" y="315"/>
                </a:cxn>
                <a:cxn ang="0">
                  <a:pos x="164" y="343"/>
                </a:cxn>
                <a:cxn ang="0">
                  <a:pos x="110" y="357"/>
                </a:cxn>
                <a:cxn ang="0">
                  <a:pos x="71" y="356"/>
                </a:cxn>
                <a:cxn ang="0">
                  <a:pos x="56" y="348"/>
                </a:cxn>
                <a:cxn ang="0">
                  <a:pos x="33" y="340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124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/>
              <a:ahLst/>
              <a:cxnLst>
                <a:cxn ang="0">
                  <a:pos x="60" y="288"/>
                </a:cxn>
                <a:cxn ang="0">
                  <a:pos x="95" y="269"/>
                </a:cxn>
                <a:cxn ang="0">
                  <a:pos x="165" y="209"/>
                </a:cxn>
                <a:cxn ang="0">
                  <a:pos x="172" y="168"/>
                </a:cxn>
                <a:cxn ang="0">
                  <a:pos x="180" y="149"/>
                </a:cxn>
                <a:cxn ang="0">
                  <a:pos x="193" y="137"/>
                </a:cxn>
                <a:cxn ang="0">
                  <a:pos x="190" y="126"/>
                </a:cxn>
                <a:cxn ang="0">
                  <a:pos x="179" y="94"/>
                </a:cxn>
                <a:cxn ang="0">
                  <a:pos x="173" y="34"/>
                </a:cxn>
                <a:cxn ang="0">
                  <a:pos x="182" y="0"/>
                </a:cxn>
                <a:cxn ang="0">
                  <a:pos x="194" y="11"/>
                </a:cxn>
                <a:cxn ang="0">
                  <a:pos x="207" y="29"/>
                </a:cxn>
                <a:cxn ang="0">
                  <a:pos x="231" y="56"/>
                </a:cxn>
                <a:cxn ang="0">
                  <a:pos x="238" y="73"/>
                </a:cxn>
                <a:cxn ang="0">
                  <a:pos x="237" y="88"/>
                </a:cxn>
                <a:cxn ang="0">
                  <a:pos x="226" y="102"/>
                </a:cxn>
                <a:cxn ang="0">
                  <a:pos x="205" y="120"/>
                </a:cxn>
                <a:cxn ang="0">
                  <a:pos x="199" y="131"/>
                </a:cxn>
                <a:cxn ang="0">
                  <a:pos x="199" y="149"/>
                </a:cxn>
                <a:cxn ang="0">
                  <a:pos x="205" y="159"/>
                </a:cxn>
                <a:cxn ang="0">
                  <a:pos x="226" y="160"/>
                </a:cxn>
                <a:cxn ang="0">
                  <a:pos x="233" y="153"/>
                </a:cxn>
                <a:cxn ang="0">
                  <a:pos x="232" y="135"/>
                </a:cxn>
                <a:cxn ang="0">
                  <a:pos x="259" y="193"/>
                </a:cxn>
                <a:cxn ang="0">
                  <a:pos x="271" y="208"/>
                </a:cxn>
                <a:cxn ang="0">
                  <a:pos x="291" y="219"/>
                </a:cxn>
                <a:cxn ang="0">
                  <a:pos x="300" y="217"/>
                </a:cxn>
                <a:cxn ang="0">
                  <a:pos x="312" y="206"/>
                </a:cxn>
                <a:cxn ang="0">
                  <a:pos x="341" y="194"/>
                </a:cxn>
                <a:cxn ang="0">
                  <a:pos x="355" y="206"/>
                </a:cxn>
                <a:cxn ang="0">
                  <a:pos x="342" y="240"/>
                </a:cxn>
                <a:cxn ang="0">
                  <a:pos x="321" y="261"/>
                </a:cxn>
                <a:cxn ang="0">
                  <a:pos x="295" y="275"/>
                </a:cxn>
                <a:cxn ang="0">
                  <a:pos x="247" y="288"/>
                </a:cxn>
                <a:cxn ang="0">
                  <a:pos x="208" y="299"/>
                </a:cxn>
                <a:cxn ang="0">
                  <a:pos x="193" y="308"/>
                </a:cxn>
                <a:cxn ang="0">
                  <a:pos x="179" y="339"/>
                </a:cxn>
                <a:cxn ang="0">
                  <a:pos x="163" y="356"/>
                </a:cxn>
                <a:cxn ang="0">
                  <a:pos x="109" y="394"/>
                </a:cxn>
                <a:cxn ang="0">
                  <a:pos x="48" y="424"/>
                </a:cxn>
                <a:cxn ang="0">
                  <a:pos x="19" y="431"/>
                </a:cxn>
                <a:cxn ang="0">
                  <a:pos x="7" y="426"/>
                </a:cxn>
                <a:cxn ang="0">
                  <a:pos x="1" y="415"/>
                </a:cxn>
                <a:cxn ang="0">
                  <a:pos x="1" y="402"/>
                </a:cxn>
                <a:cxn ang="0">
                  <a:pos x="9" y="391"/>
                </a:cxn>
                <a:cxn ang="0">
                  <a:pos x="56" y="374"/>
                </a:cxn>
                <a:cxn ang="0">
                  <a:pos x="73" y="351"/>
                </a:cxn>
                <a:cxn ang="0">
                  <a:pos x="71" y="335"/>
                </a:cxn>
                <a:cxn ang="0">
                  <a:pos x="64" y="326"/>
                </a:cxn>
                <a:cxn ang="0">
                  <a:pos x="51" y="320"/>
                </a:cxn>
                <a:cxn ang="0">
                  <a:pos x="19" y="320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2125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8886826" y="3395663"/>
            <a:ext cx="9525" cy="57150"/>
          </a:xfrm>
          <a:custGeom>
            <a:avLst/>
            <a:gdLst/>
            <a:ahLst/>
            <a:cxnLst>
              <a:cxn ang="0">
                <a:pos x="0" y="43"/>
              </a:cxn>
              <a:cxn ang="0">
                <a:pos x="1" y="29"/>
              </a:cxn>
              <a:cxn ang="0">
                <a:pos x="3" y="17"/>
              </a:cxn>
              <a:cxn ang="0">
                <a:pos x="4" y="11"/>
              </a:cxn>
              <a:cxn ang="0">
                <a:pos x="6" y="7"/>
              </a:cxn>
              <a:cxn ang="0">
                <a:pos x="9" y="3"/>
              </a:cxn>
              <a:cxn ang="0">
                <a:pos x="15" y="0"/>
              </a:cxn>
              <a:cxn ang="0">
                <a:pos x="15" y="15"/>
              </a:cxn>
              <a:cxn ang="0">
                <a:pos x="18" y="31"/>
              </a:cxn>
              <a:cxn ang="0">
                <a:pos x="20" y="44"/>
              </a:cxn>
              <a:cxn ang="0">
                <a:pos x="21" y="49"/>
              </a:cxn>
              <a:cxn ang="0">
                <a:pos x="10" y="55"/>
              </a:cxn>
              <a:cxn ang="0">
                <a:pos x="0" y="62"/>
              </a:cxn>
              <a:cxn ang="0">
                <a:pos x="0" y="43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26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9613900" y="4297363"/>
            <a:ext cx="14288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" y="5"/>
              </a:cxn>
              <a:cxn ang="0">
                <a:pos x="10" y="10"/>
              </a:cxn>
              <a:cxn ang="0">
                <a:pos x="11" y="13"/>
              </a:cxn>
              <a:cxn ang="0">
                <a:pos x="12" y="16"/>
              </a:cxn>
              <a:cxn ang="0">
                <a:pos x="13" y="20"/>
              </a:cxn>
              <a:cxn ang="0">
                <a:pos x="13" y="24"/>
              </a:cxn>
              <a:cxn ang="0">
                <a:pos x="33" y="0"/>
              </a:cxn>
              <a:cxn ang="0">
                <a:pos x="24" y="0"/>
              </a:cxn>
              <a:cxn ang="0">
                <a:pos x="16" y="0"/>
              </a:cxn>
              <a:cxn ang="0">
                <a:pos x="9" y="0"/>
              </a:cxn>
              <a:cxn ang="0">
                <a:pos x="0" y="0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27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9636126" y="4306889"/>
            <a:ext cx="17463" cy="58737"/>
          </a:xfrm>
          <a:custGeom>
            <a:avLst/>
            <a:gdLst/>
            <a:ahLst/>
            <a:cxnLst>
              <a:cxn ang="0">
                <a:pos x="26" y="25"/>
              </a:cxn>
              <a:cxn ang="0">
                <a:pos x="29" y="22"/>
              </a:cxn>
              <a:cxn ang="0">
                <a:pos x="33" y="18"/>
              </a:cxn>
              <a:cxn ang="0">
                <a:pos x="33" y="0"/>
              </a:cxn>
              <a:cxn ang="0">
                <a:pos x="25" y="0"/>
              </a:cxn>
              <a:cxn ang="0">
                <a:pos x="16" y="0"/>
              </a:cxn>
              <a:cxn ang="0">
                <a:pos x="6" y="0"/>
              </a:cxn>
              <a:cxn ang="0">
                <a:pos x="0" y="0"/>
              </a:cxn>
              <a:cxn ang="0">
                <a:pos x="26" y="25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28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8950325" y="3384551"/>
            <a:ext cx="1588" cy="55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0"/>
              </a:cxn>
              <a:cxn ang="0">
                <a:pos x="0" y="0"/>
              </a:cxn>
            </a:cxnLst>
            <a:rect l="0" t="0" r="r" b="b"/>
            <a:pathLst>
              <a:path w="7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29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9009063" y="3328988"/>
            <a:ext cx="6350" cy="57150"/>
          </a:xfrm>
          <a:custGeom>
            <a:avLst/>
            <a:gdLst/>
            <a:ahLst/>
            <a:cxnLst>
              <a:cxn ang="0">
                <a:pos x="16" y="0"/>
              </a:cxn>
              <a:cxn ang="0">
                <a:pos x="16" y="6"/>
              </a:cxn>
              <a:cxn ang="0">
                <a:pos x="14" y="13"/>
              </a:cxn>
              <a:cxn ang="0">
                <a:pos x="13" y="16"/>
              </a:cxn>
              <a:cxn ang="0">
                <a:pos x="11" y="20"/>
              </a:cxn>
              <a:cxn ang="0">
                <a:pos x="7" y="23"/>
              </a:cxn>
              <a:cxn ang="0">
                <a:pos x="3" y="25"/>
              </a:cxn>
              <a:cxn ang="0">
                <a:pos x="1" y="24"/>
              </a:cxn>
              <a:cxn ang="0">
                <a:pos x="0" y="21"/>
              </a:cxn>
              <a:cxn ang="0">
                <a:pos x="1" y="18"/>
              </a:cxn>
              <a:cxn ang="0">
                <a:pos x="2" y="13"/>
              </a:cxn>
              <a:cxn ang="0">
                <a:pos x="4" y="9"/>
              </a:cxn>
              <a:cxn ang="0">
                <a:pos x="7" y="4"/>
              </a:cxn>
              <a:cxn ang="0">
                <a:pos x="11" y="1"/>
              </a:cxn>
              <a:cxn ang="0">
                <a:pos x="16" y="0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30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9121776" y="3217863"/>
            <a:ext cx="4763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1"/>
              </a:cxn>
              <a:cxn ang="0">
                <a:pos x="5" y="2"/>
              </a:cxn>
              <a:cxn ang="0">
                <a:pos x="7" y="4"/>
              </a:cxn>
              <a:cxn ang="0">
                <a:pos x="9" y="7"/>
              </a:cxn>
              <a:cxn ang="0">
                <a:pos x="13" y="13"/>
              </a:cxn>
              <a:cxn ang="0">
                <a:pos x="14" y="18"/>
              </a:cxn>
              <a:cxn ang="0">
                <a:pos x="0" y="0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31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9274175" y="3916364"/>
            <a:ext cx="26988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17"/>
              </a:cxn>
              <a:cxn ang="0">
                <a:pos x="3" y="30"/>
              </a:cxn>
              <a:cxn ang="0">
                <a:pos x="7" y="41"/>
              </a:cxn>
              <a:cxn ang="0">
                <a:pos x="12" y="50"/>
              </a:cxn>
              <a:cxn ang="0">
                <a:pos x="17" y="58"/>
              </a:cxn>
              <a:cxn ang="0">
                <a:pos x="23" y="64"/>
              </a:cxn>
              <a:cxn ang="0">
                <a:pos x="28" y="69"/>
              </a:cxn>
              <a:cxn ang="0">
                <a:pos x="33" y="74"/>
              </a:cxn>
              <a:cxn ang="0">
                <a:pos x="44" y="65"/>
              </a:cxn>
              <a:cxn ang="0">
                <a:pos x="55" y="55"/>
              </a:cxn>
              <a:cxn ang="0">
                <a:pos x="59" y="49"/>
              </a:cxn>
              <a:cxn ang="0">
                <a:pos x="63" y="43"/>
              </a:cxn>
              <a:cxn ang="0">
                <a:pos x="66" y="37"/>
              </a:cxn>
              <a:cxn ang="0">
                <a:pos x="67" y="30"/>
              </a:cxn>
              <a:cxn ang="0">
                <a:pos x="67" y="25"/>
              </a:cxn>
              <a:cxn ang="0">
                <a:pos x="67" y="18"/>
              </a:cxn>
              <a:cxn ang="0">
                <a:pos x="67" y="9"/>
              </a:cxn>
              <a:cxn ang="0">
                <a:pos x="67" y="0"/>
              </a:cxn>
              <a:cxn ang="0">
                <a:pos x="48" y="0"/>
              </a:cxn>
              <a:cxn ang="0">
                <a:pos x="33" y="0"/>
              </a:cxn>
              <a:cxn ang="0">
                <a:pos x="17" y="0"/>
              </a:cxn>
              <a:cxn ang="0">
                <a:pos x="0" y="0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32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9337675" y="3930650"/>
            <a:ext cx="12700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3"/>
              </a:cxn>
              <a:cxn ang="0">
                <a:pos x="4" y="7"/>
              </a:cxn>
              <a:cxn ang="0">
                <a:pos x="5" y="11"/>
              </a:cxn>
              <a:cxn ang="0">
                <a:pos x="6" y="16"/>
              </a:cxn>
              <a:cxn ang="0">
                <a:pos x="10" y="28"/>
              </a:cxn>
              <a:cxn ang="0">
                <a:pos x="13" y="38"/>
              </a:cxn>
              <a:cxn ang="0">
                <a:pos x="16" y="37"/>
              </a:cxn>
              <a:cxn ang="0">
                <a:pos x="20" y="36"/>
              </a:cxn>
              <a:cxn ang="0">
                <a:pos x="23" y="34"/>
              </a:cxn>
              <a:cxn ang="0">
                <a:pos x="26" y="31"/>
              </a:cxn>
              <a:cxn ang="0">
                <a:pos x="28" y="28"/>
              </a:cxn>
              <a:cxn ang="0">
                <a:pos x="32" y="24"/>
              </a:cxn>
              <a:cxn ang="0">
                <a:pos x="33" y="21"/>
              </a:cxn>
              <a:cxn ang="0">
                <a:pos x="34" y="19"/>
              </a:cxn>
              <a:cxn ang="0">
                <a:pos x="31" y="18"/>
              </a:cxn>
              <a:cxn ang="0">
                <a:pos x="28" y="17"/>
              </a:cxn>
              <a:cxn ang="0">
                <a:pos x="26" y="14"/>
              </a:cxn>
              <a:cxn ang="0">
                <a:pos x="24" y="12"/>
              </a:cxn>
              <a:cxn ang="0">
                <a:pos x="19" y="6"/>
              </a:cxn>
              <a:cxn ang="0">
                <a:pos x="13" y="0"/>
              </a:cxn>
              <a:cxn ang="0">
                <a:pos x="6" y="0"/>
              </a:cxn>
              <a:cxn ang="0">
                <a:pos x="0" y="0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33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9194800" y="3706813"/>
            <a:ext cx="25400" cy="55562"/>
          </a:xfrm>
          <a:custGeom>
            <a:avLst/>
            <a:gdLst/>
            <a:ahLst/>
            <a:cxnLst>
              <a:cxn ang="0">
                <a:pos x="53" y="23"/>
              </a:cxn>
              <a:cxn ang="0">
                <a:pos x="53" y="4"/>
              </a:cxn>
              <a:cxn ang="0">
                <a:pos x="49" y="2"/>
              </a:cxn>
              <a:cxn ang="0">
                <a:pos x="45" y="1"/>
              </a:cxn>
              <a:cxn ang="0">
                <a:pos x="42" y="0"/>
              </a:cxn>
              <a:cxn ang="0">
                <a:pos x="38" y="0"/>
              </a:cxn>
              <a:cxn ang="0">
                <a:pos x="31" y="1"/>
              </a:cxn>
              <a:cxn ang="0">
                <a:pos x="24" y="4"/>
              </a:cxn>
              <a:cxn ang="0">
                <a:pos x="11" y="13"/>
              </a:cxn>
              <a:cxn ang="0">
                <a:pos x="0" y="23"/>
              </a:cxn>
              <a:cxn ang="0">
                <a:pos x="53" y="23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34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9137651" y="3681413"/>
            <a:ext cx="11113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" y="4"/>
              </a:cxn>
              <a:cxn ang="0">
                <a:pos x="11" y="8"/>
              </a:cxn>
              <a:cxn ang="0">
                <a:pos x="14" y="9"/>
              </a:cxn>
              <a:cxn ang="0">
                <a:pos x="18" y="11"/>
              </a:cxn>
              <a:cxn ang="0">
                <a:pos x="22" y="11"/>
              </a:cxn>
              <a:cxn ang="0">
                <a:pos x="26" y="12"/>
              </a:cxn>
              <a:cxn ang="0">
                <a:pos x="21" y="7"/>
              </a:cxn>
              <a:cxn ang="0">
                <a:pos x="13" y="3"/>
              </a:cxn>
              <a:cxn ang="0">
                <a:pos x="5" y="1"/>
              </a:cxn>
              <a:cxn ang="0">
                <a:pos x="0" y="0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35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9337675" y="4013200"/>
            <a:ext cx="31750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0" y="0"/>
              </a:cxn>
              <a:cxn ang="0">
                <a:pos x="37" y="0"/>
              </a:cxn>
              <a:cxn ang="0">
                <a:pos x="55" y="0"/>
              </a:cxn>
              <a:cxn ang="0">
                <a:pos x="73" y="0"/>
              </a:cxn>
            </a:cxnLst>
            <a:rect l="0" t="0" r="r" b="b"/>
            <a:pathLst>
              <a:path w="73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36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9293226" y="4002088"/>
            <a:ext cx="22225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4" y="0"/>
              </a:cxn>
              <a:cxn ang="0">
                <a:pos x="27" y="3"/>
              </a:cxn>
              <a:cxn ang="0">
                <a:pos x="32" y="3"/>
              </a:cxn>
              <a:cxn ang="0">
                <a:pos x="39" y="3"/>
              </a:cxn>
              <a:cxn ang="0">
                <a:pos x="45" y="1"/>
              </a:cxn>
              <a:cxn ang="0">
                <a:pos x="53" y="0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37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9326564" y="3987800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38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9347200" y="3994150"/>
            <a:ext cx="1588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"/>
              </a:cxn>
              <a:cxn ang="0">
                <a:pos x="0" y="13"/>
              </a:cxn>
            </a:cxnLst>
            <a:rect l="0" t="0" r="r" b="b"/>
            <a:pathLst>
              <a:path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39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9301164" y="3987800"/>
            <a:ext cx="14287" cy="587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5" y="0"/>
              </a:cxn>
              <a:cxn ang="0">
                <a:pos x="26" y="0"/>
              </a:cxn>
            </a:cxnLst>
            <a:rect l="0" t="0" r="r" b="b"/>
            <a:pathLst>
              <a:path w="26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40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9294813" y="3968751"/>
            <a:ext cx="6350" cy="60325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0" y="13"/>
              </a:cxn>
              <a:cxn ang="0">
                <a:pos x="4" y="18"/>
              </a:cxn>
              <a:cxn ang="0">
                <a:pos x="10" y="21"/>
              </a:cxn>
              <a:cxn ang="0">
                <a:pos x="14" y="24"/>
              </a:cxn>
              <a:cxn ang="0">
                <a:pos x="20" y="25"/>
              </a:cxn>
              <a:cxn ang="0">
                <a:pos x="20" y="0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41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9375775" y="3695700"/>
            <a:ext cx="1588" cy="57150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0" y="0"/>
              </a:cxn>
              <a:cxn ang="0">
                <a:pos x="6" y="12"/>
              </a:cxn>
              <a:cxn ang="0">
                <a:pos x="0" y="24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grpSp>
        <p:nvGrpSpPr>
          <p:cNvPr id="2142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9250363" y="3367088"/>
            <a:ext cx="163512" cy="114300"/>
            <a:chOff x="5379" y="2466"/>
            <a:chExt cx="122" cy="71"/>
          </a:xfrm>
        </p:grpSpPr>
        <p:sp>
          <p:nvSpPr>
            <p:cNvPr id="2143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/>
              <a:ahLst/>
              <a:cxnLst>
                <a:cxn ang="0">
                  <a:pos x="19" y="25"/>
                </a:cxn>
                <a:cxn ang="0">
                  <a:pos x="18" y="20"/>
                </a:cxn>
                <a:cxn ang="0">
                  <a:pos x="17" y="12"/>
                </a:cxn>
                <a:cxn ang="0">
                  <a:pos x="16" y="9"/>
                </a:cxn>
                <a:cxn ang="0">
                  <a:pos x="17" y="6"/>
                </a:cxn>
                <a:cxn ang="0">
                  <a:pos x="17" y="3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1" y="7"/>
                </a:cxn>
                <a:cxn ang="0">
                  <a:pos x="5" y="15"/>
                </a:cxn>
                <a:cxn ang="0">
                  <a:pos x="7" y="19"/>
                </a:cxn>
                <a:cxn ang="0">
                  <a:pos x="11" y="23"/>
                </a:cxn>
                <a:cxn ang="0">
                  <a:pos x="15" y="25"/>
                </a:cxn>
                <a:cxn ang="0">
                  <a:pos x="19" y="25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44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/>
              <a:ahLst/>
              <a:cxnLst>
                <a:cxn ang="0">
                  <a:pos x="26" y="18"/>
                </a:cxn>
                <a:cxn ang="0">
                  <a:pos x="7" y="18"/>
                </a:cxn>
                <a:cxn ang="0">
                  <a:pos x="3" y="9"/>
                </a:cxn>
                <a:cxn ang="0">
                  <a:pos x="0" y="0"/>
                </a:cxn>
                <a:cxn ang="0">
                  <a:pos x="6" y="2"/>
                </a:cxn>
                <a:cxn ang="0">
                  <a:pos x="13" y="6"/>
                </a:cxn>
                <a:cxn ang="0">
                  <a:pos x="20" y="12"/>
                </a:cxn>
                <a:cxn ang="0">
                  <a:pos x="26" y="18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45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3" y="0"/>
                </a:cxn>
                <a:cxn ang="0">
                  <a:pos x="0" y="18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46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3" y="23"/>
                </a:cxn>
                <a:cxn ang="0">
                  <a:pos x="7" y="22"/>
                </a:cxn>
                <a:cxn ang="0">
                  <a:pos x="11" y="19"/>
                </a:cxn>
                <a:cxn ang="0">
                  <a:pos x="16" y="16"/>
                </a:cxn>
                <a:cxn ang="0">
                  <a:pos x="20" y="13"/>
                </a:cxn>
                <a:cxn ang="0">
                  <a:pos x="23" y="9"/>
                </a:cxn>
                <a:cxn ang="0">
                  <a:pos x="25" y="4"/>
                </a:cxn>
                <a:cxn ang="0">
                  <a:pos x="26" y="0"/>
                </a:cxn>
                <a:cxn ang="0">
                  <a:pos x="0" y="24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47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0" y="6"/>
                </a:cxn>
                <a:cxn ang="0">
                  <a:pos x="17" y="5"/>
                </a:cxn>
                <a:cxn ang="0">
                  <a:pos x="25" y="4"/>
                </a:cxn>
                <a:cxn ang="0">
                  <a:pos x="34" y="0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48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49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9"/>
                </a:cxn>
                <a:cxn ang="0">
                  <a:pos x="0" y="0"/>
                </a:cxn>
              </a:cxnLst>
              <a:rect l="0" t="0" r="r" b="b"/>
              <a:pathLst>
                <a:path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50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51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7" y="3"/>
                </a:cxn>
                <a:cxn ang="0">
                  <a:pos x="0" y="6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2152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7834313" y="3228975"/>
            <a:ext cx="6350" cy="57150"/>
          </a:xfrm>
          <a:custGeom>
            <a:avLst/>
            <a:gdLst/>
            <a:ahLst/>
            <a:cxnLst>
              <a:cxn ang="0">
                <a:pos x="13" y="111"/>
              </a:cxn>
              <a:cxn ang="0">
                <a:pos x="9" y="103"/>
              </a:cxn>
              <a:cxn ang="0">
                <a:pos x="4" y="95"/>
              </a:cxn>
              <a:cxn ang="0">
                <a:pos x="2" y="91"/>
              </a:cxn>
              <a:cxn ang="0">
                <a:pos x="1" y="87"/>
              </a:cxn>
              <a:cxn ang="0">
                <a:pos x="0" y="80"/>
              </a:cxn>
              <a:cxn ang="0">
                <a:pos x="0" y="74"/>
              </a:cxn>
              <a:cxn ang="0">
                <a:pos x="0" y="61"/>
              </a:cxn>
              <a:cxn ang="0">
                <a:pos x="1" y="51"/>
              </a:cxn>
              <a:cxn ang="0">
                <a:pos x="3" y="41"/>
              </a:cxn>
              <a:cxn ang="0">
                <a:pos x="5" y="33"/>
              </a:cxn>
              <a:cxn ang="0">
                <a:pos x="9" y="24"/>
              </a:cxn>
              <a:cxn ang="0">
                <a:pos x="14" y="17"/>
              </a:cxn>
              <a:cxn ang="0">
                <a:pos x="20" y="9"/>
              </a:cxn>
              <a:cxn ang="0">
                <a:pos x="26" y="0"/>
              </a:cxn>
              <a:cxn ang="0">
                <a:pos x="26" y="6"/>
              </a:cxn>
              <a:cxn ang="0">
                <a:pos x="26" y="13"/>
              </a:cxn>
              <a:cxn ang="0">
                <a:pos x="26" y="22"/>
              </a:cxn>
              <a:cxn ang="0">
                <a:pos x="26" y="32"/>
              </a:cxn>
              <a:cxn ang="0">
                <a:pos x="25" y="44"/>
              </a:cxn>
              <a:cxn ang="0">
                <a:pos x="22" y="56"/>
              </a:cxn>
              <a:cxn ang="0">
                <a:pos x="18" y="67"/>
              </a:cxn>
              <a:cxn ang="0">
                <a:pos x="13" y="80"/>
              </a:cxn>
              <a:cxn ang="0">
                <a:pos x="13" y="111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53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4733926" y="5368925"/>
            <a:ext cx="53975" cy="58738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11" y="20"/>
              </a:cxn>
              <a:cxn ang="0">
                <a:pos x="21" y="21"/>
              </a:cxn>
              <a:cxn ang="0">
                <a:pos x="29" y="23"/>
              </a:cxn>
              <a:cxn ang="0">
                <a:pos x="36" y="26"/>
              </a:cxn>
              <a:cxn ang="0">
                <a:pos x="50" y="33"/>
              </a:cxn>
              <a:cxn ang="0">
                <a:pos x="61" y="40"/>
              </a:cxn>
              <a:cxn ang="0">
                <a:pos x="70" y="48"/>
              </a:cxn>
              <a:cxn ang="0">
                <a:pos x="79" y="55"/>
              </a:cxn>
              <a:cxn ang="0">
                <a:pos x="84" y="58"/>
              </a:cxn>
              <a:cxn ang="0">
                <a:pos x="89" y="60"/>
              </a:cxn>
              <a:cxn ang="0">
                <a:pos x="95" y="61"/>
              </a:cxn>
              <a:cxn ang="0">
                <a:pos x="100" y="62"/>
              </a:cxn>
              <a:cxn ang="0">
                <a:pos x="105" y="61"/>
              </a:cxn>
              <a:cxn ang="0">
                <a:pos x="109" y="60"/>
              </a:cxn>
              <a:cxn ang="0">
                <a:pos x="113" y="58"/>
              </a:cxn>
              <a:cxn ang="0">
                <a:pos x="117" y="56"/>
              </a:cxn>
              <a:cxn ang="0">
                <a:pos x="122" y="51"/>
              </a:cxn>
              <a:cxn ang="0">
                <a:pos x="126" y="49"/>
              </a:cxn>
              <a:cxn ang="0">
                <a:pos x="110" y="33"/>
              </a:cxn>
              <a:cxn ang="0">
                <a:pos x="96" y="21"/>
              </a:cxn>
              <a:cxn ang="0">
                <a:pos x="89" y="15"/>
              </a:cxn>
              <a:cxn ang="0">
                <a:pos x="81" y="9"/>
              </a:cxn>
              <a:cxn ang="0">
                <a:pos x="72" y="5"/>
              </a:cxn>
              <a:cxn ang="0">
                <a:pos x="61" y="0"/>
              </a:cxn>
              <a:cxn ang="0">
                <a:pos x="0" y="0"/>
              </a:cxn>
              <a:cxn ang="0">
                <a:pos x="0" y="9"/>
              </a:cxn>
              <a:cxn ang="0">
                <a:pos x="0" y="19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54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7035801" y="5207001"/>
            <a:ext cx="30163" cy="55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3" y="1"/>
              </a:cxn>
              <a:cxn ang="0">
                <a:pos x="23" y="2"/>
              </a:cxn>
              <a:cxn ang="0">
                <a:pos x="32" y="4"/>
              </a:cxn>
              <a:cxn ang="0">
                <a:pos x="38" y="7"/>
              </a:cxn>
              <a:cxn ang="0">
                <a:pos x="44" y="9"/>
              </a:cxn>
              <a:cxn ang="0">
                <a:pos x="50" y="11"/>
              </a:cxn>
              <a:cxn ang="0">
                <a:pos x="57" y="12"/>
              </a:cxn>
              <a:cxn ang="0">
                <a:pos x="66" y="13"/>
              </a:cxn>
              <a:cxn ang="0">
                <a:pos x="65" y="17"/>
              </a:cxn>
              <a:cxn ang="0">
                <a:pos x="62" y="21"/>
              </a:cxn>
              <a:cxn ang="0">
                <a:pos x="60" y="25"/>
              </a:cxn>
              <a:cxn ang="0">
                <a:pos x="57" y="28"/>
              </a:cxn>
              <a:cxn ang="0">
                <a:pos x="49" y="34"/>
              </a:cxn>
              <a:cxn ang="0">
                <a:pos x="40" y="39"/>
              </a:cxn>
              <a:cxn ang="0">
                <a:pos x="31" y="42"/>
              </a:cxn>
              <a:cxn ang="0">
                <a:pos x="21" y="44"/>
              </a:cxn>
              <a:cxn ang="0">
                <a:pos x="10" y="44"/>
              </a:cxn>
              <a:cxn ang="0">
                <a:pos x="0" y="43"/>
              </a:cxn>
              <a:cxn ang="0">
                <a:pos x="0" y="31"/>
              </a:cxn>
              <a:cxn ang="0">
                <a:pos x="0" y="22"/>
              </a:cxn>
              <a:cxn ang="0">
                <a:pos x="0" y="12"/>
              </a:cxn>
              <a:cxn ang="0">
                <a:pos x="0" y="0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55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9190039" y="1978025"/>
            <a:ext cx="20637" cy="57150"/>
          </a:xfrm>
          <a:custGeom>
            <a:avLst/>
            <a:gdLst/>
            <a:ahLst/>
            <a:cxnLst>
              <a:cxn ang="0">
                <a:pos x="46" y="0"/>
              </a:cxn>
              <a:cxn ang="0">
                <a:pos x="40" y="7"/>
              </a:cxn>
              <a:cxn ang="0">
                <a:pos x="35" y="13"/>
              </a:cxn>
              <a:cxn ang="0">
                <a:pos x="31" y="14"/>
              </a:cxn>
              <a:cxn ang="0">
                <a:pos x="29" y="15"/>
              </a:cxn>
              <a:cxn ang="0">
                <a:pos x="26" y="16"/>
              </a:cxn>
              <a:cxn ang="0">
                <a:pos x="23" y="16"/>
              </a:cxn>
              <a:cxn ang="0">
                <a:pos x="16" y="14"/>
              </a:cxn>
              <a:cxn ang="0">
                <a:pos x="11" y="11"/>
              </a:cxn>
              <a:cxn ang="0">
                <a:pos x="5" y="6"/>
              </a:cxn>
              <a:cxn ang="0">
                <a:pos x="0" y="0"/>
              </a:cxn>
              <a:cxn ang="0">
                <a:pos x="46" y="0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56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9366251" y="2011363"/>
            <a:ext cx="15875" cy="57150"/>
          </a:xfrm>
          <a:custGeom>
            <a:avLst/>
            <a:gdLst/>
            <a:ahLst/>
            <a:cxnLst>
              <a:cxn ang="0">
                <a:pos x="39" y="25"/>
              </a:cxn>
              <a:cxn ang="0">
                <a:pos x="36" y="26"/>
              </a:cxn>
              <a:cxn ang="0">
                <a:pos x="32" y="26"/>
              </a:cxn>
              <a:cxn ang="0">
                <a:pos x="28" y="26"/>
              </a:cxn>
              <a:cxn ang="0">
                <a:pos x="25" y="25"/>
              </a:cxn>
              <a:cxn ang="0">
                <a:pos x="18" y="22"/>
              </a:cxn>
              <a:cxn ang="0">
                <a:pos x="12" y="18"/>
              </a:cxn>
              <a:cxn ang="0">
                <a:pos x="7" y="13"/>
              </a:cxn>
              <a:cxn ang="0">
                <a:pos x="3" y="7"/>
              </a:cxn>
              <a:cxn ang="0">
                <a:pos x="1" y="3"/>
              </a:cxn>
              <a:cxn ang="0">
                <a:pos x="0" y="0"/>
              </a:cxn>
              <a:cxn ang="0">
                <a:pos x="11" y="6"/>
              </a:cxn>
              <a:cxn ang="0">
                <a:pos x="22" y="13"/>
              </a:cxn>
              <a:cxn ang="0">
                <a:pos x="33" y="20"/>
              </a:cxn>
              <a:cxn ang="0">
                <a:pos x="39" y="25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57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8815388" y="2241550"/>
            <a:ext cx="4762" cy="58738"/>
          </a:xfrm>
          <a:custGeom>
            <a:avLst/>
            <a:gdLst/>
            <a:ahLst/>
            <a:cxnLst>
              <a:cxn ang="0">
                <a:pos x="11" y="0"/>
              </a:cxn>
              <a:cxn ang="0">
                <a:pos x="11" y="5"/>
              </a:cxn>
              <a:cxn ang="0">
                <a:pos x="10" y="12"/>
              </a:cxn>
              <a:cxn ang="0">
                <a:pos x="9" y="20"/>
              </a:cxn>
              <a:cxn ang="0">
                <a:pos x="4" y="25"/>
              </a:cxn>
              <a:cxn ang="0">
                <a:pos x="2" y="23"/>
              </a:cxn>
              <a:cxn ang="0">
                <a:pos x="1" y="20"/>
              </a:cxn>
              <a:cxn ang="0">
                <a:pos x="0" y="15"/>
              </a:cxn>
              <a:cxn ang="0">
                <a:pos x="0" y="12"/>
              </a:cxn>
              <a:cxn ang="0">
                <a:pos x="1" y="9"/>
              </a:cxn>
              <a:cxn ang="0">
                <a:pos x="3" y="5"/>
              </a:cxn>
              <a:cxn ang="0">
                <a:pos x="6" y="2"/>
              </a:cxn>
              <a:cxn ang="0">
                <a:pos x="11" y="0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58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8629650" y="2803525"/>
            <a:ext cx="14288" cy="58738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16" y="12"/>
              </a:cxn>
              <a:cxn ang="0">
                <a:pos x="10" y="20"/>
              </a:cxn>
              <a:cxn ang="0">
                <a:pos x="5" y="26"/>
              </a:cxn>
              <a:cxn ang="0">
                <a:pos x="0" y="31"/>
              </a:cxn>
              <a:cxn ang="0">
                <a:pos x="0" y="25"/>
              </a:cxn>
              <a:cxn ang="0">
                <a:pos x="1" y="19"/>
              </a:cxn>
              <a:cxn ang="0">
                <a:pos x="2" y="13"/>
              </a:cxn>
              <a:cxn ang="0">
                <a:pos x="5" y="9"/>
              </a:cxn>
              <a:cxn ang="0">
                <a:pos x="8" y="6"/>
              </a:cxn>
              <a:cxn ang="0">
                <a:pos x="11" y="3"/>
              </a:cxn>
              <a:cxn ang="0">
                <a:pos x="16" y="0"/>
              </a:cxn>
              <a:cxn ang="0">
                <a:pos x="20" y="0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59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8647114" y="2738438"/>
            <a:ext cx="15875" cy="57150"/>
          </a:xfrm>
          <a:custGeom>
            <a:avLst/>
            <a:gdLst/>
            <a:ahLst/>
            <a:cxnLst>
              <a:cxn ang="0">
                <a:pos x="13" y="37"/>
              </a:cxn>
              <a:cxn ang="0">
                <a:pos x="0" y="12"/>
              </a:cxn>
              <a:cxn ang="0">
                <a:pos x="6" y="7"/>
              </a:cxn>
              <a:cxn ang="0">
                <a:pos x="13" y="4"/>
              </a:cxn>
              <a:cxn ang="0">
                <a:pos x="21" y="1"/>
              </a:cxn>
              <a:cxn ang="0">
                <a:pos x="26" y="0"/>
              </a:cxn>
              <a:cxn ang="0">
                <a:pos x="26" y="6"/>
              </a:cxn>
              <a:cxn ang="0">
                <a:pos x="25" y="11"/>
              </a:cxn>
              <a:cxn ang="0">
                <a:pos x="24" y="17"/>
              </a:cxn>
              <a:cxn ang="0">
                <a:pos x="23" y="21"/>
              </a:cxn>
              <a:cxn ang="0">
                <a:pos x="18" y="29"/>
              </a:cxn>
              <a:cxn ang="0">
                <a:pos x="13" y="37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60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8535989" y="2587626"/>
            <a:ext cx="1587" cy="60325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0" y="0"/>
              </a:cxn>
              <a:cxn ang="0">
                <a:pos x="7" y="12"/>
              </a:cxn>
              <a:cxn ang="0">
                <a:pos x="0" y="18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61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5387976" y="1714500"/>
            <a:ext cx="9525" cy="57150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19" y="0"/>
              </a:cxn>
              <a:cxn ang="0">
                <a:pos x="24" y="5"/>
              </a:cxn>
              <a:cxn ang="0">
                <a:pos x="28" y="12"/>
              </a:cxn>
              <a:cxn ang="0">
                <a:pos x="32" y="22"/>
              </a:cxn>
              <a:cxn ang="0">
                <a:pos x="33" y="31"/>
              </a:cxn>
              <a:cxn ang="0">
                <a:pos x="27" y="30"/>
              </a:cxn>
              <a:cxn ang="0">
                <a:pos x="22" y="28"/>
              </a:cxn>
              <a:cxn ang="0">
                <a:pos x="16" y="25"/>
              </a:cxn>
              <a:cxn ang="0">
                <a:pos x="11" y="22"/>
              </a:cxn>
              <a:cxn ang="0">
                <a:pos x="3" y="15"/>
              </a:cxn>
              <a:cxn ang="0">
                <a:pos x="0" y="12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62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5373689" y="1482725"/>
            <a:ext cx="3175" cy="57150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0" y="6"/>
              </a:cxn>
              <a:cxn ang="0">
                <a:pos x="14" y="0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63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6854825" y="3260726"/>
            <a:ext cx="25400" cy="55563"/>
          </a:xfrm>
          <a:custGeom>
            <a:avLst/>
            <a:gdLst/>
            <a:ahLst/>
            <a:cxnLst>
              <a:cxn ang="0">
                <a:pos x="59" y="6"/>
              </a:cxn>
              <a:cxn ang="0">
                <a:pos x="57" y="11"/>
              </a:cxn>
              <a:cxn ang="0">
                <a:pos x="53" y="15"/>
              </a:cxn>
              <a:cxn ang="0">
                <a:pos x="49" y="19"/>
              </a:cxn>
              <a:cxn ang="0">
                <a:pos x="45" y="24"/>
              </a:cxn>
              <a:cxn ang="0">
                <a:pos x="40" y="27"/>
              </a:cxn>
              <a:cxn ang="0">
                <a:pos x="36" y="29"/>
              </a:cxn>
              <a:cxn ang="0">
                <a:pos x="30" y="31"/>
              </a:cxn>
              <a:cxn ang="0">
                <a:pos x="26" y="31"/>
              </a:cxn>
              <a:cxn ang="0">
                <a:pos x="21" y="31"/>
              </a:cxn>
              <a:cxn ang="0">
                <a:pos x="17" y="30"/>
              </a:cxn>
              <a:cxn ang="0">
                <a:pos x="14" y="29"/>
              </a:cxn>
              <a:cxn ang="0">
                <a:pos x="11" y="27"/>
              </a:cxn>
              <a:cxn ang="0">
                <a:pos x="4" y="20"/>
              </a:cxn>
              <a:cxn ang="0">
                <a:pos x="0" y="12"/>
              </a:cxn>
              <a:cxn ang="0">
                <a:pos x="1" y="9"/>
              </a:cxn>
              <a:cxn ang="0">
                <a:pos x="3" y="6"/>
              </a:cxn>
              <a:cxn ang="0">
                <a:pos x="5" y="4"/>
              </a:cxn>
              <a:cxn ang="0">
                <a:pos x="8" y="3"/>
              </a:cxn>
              <a:cxn ang="0">
                <a:pos x="16" y="1"/>
              </a:cxn>
              <a:cxn ang="0">
                <a:pos x="24" y="0"/>
              </a:cxn>
              <a:cxn ang="0">
                <a:pos x="34" y="0"/>
              </a:cxn>
              <a:cxn ang="0">
                <a:pos x="42" y="2"/>
              </a:cxn>
              <a:cxn ang="0">
                <a:pos x="51" y="4"/>
              </a:cxn>
              <a:cxn ang="0">
                <a:pos x="59" y="6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164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6557963" y="3122614"/>
            <a:ext cx="19050" cy="58737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8" y="10"/>
              </a:cxn>
              <a:cxn ang="0">
                <a:pos x="4" y="19"/>
              </a:cxn>
              <a:cxn ang="0">
                <a:pos x="2" y="28"/>
              </a:cxn>
              <a:cxn ang="0">
                <a:pos x="0" y="37"/>
              </a:cxn>
              <a:cxn ang="0">
                <a:pos x="0" y="42"/>
              </a:cxn>
              <a:cxn ang="0">
                <a:pos x="2" y="47"/>
              </a:cxn>
              <a:cxn ang="0">
                <a:pos x="3" y="51"/>
              </a:cxn>
              <a:cxn ang="0">
                <a:pos x="5" y="55"/>
              </a:cxn>
              <a:cxn ang="0">
                <a:pos x="7" y="58"/>
              </a:cxn>
              <a:cxn ang="0">
                <a:pos x="9" y="60"/>
              </a:cxn>
              <a:cxn ang="0">
                <a:pos x="13" y="62"/>
              </a:cxn>
              <a:cxn ang="0">
                <a:pos x="16" y="64"/>
              </a:cxn>
              <a:cxn ang="0">
                <a:pos x="22" y="67"/>
              </a:cxn>
              <a:cxn ang="0">
                <a:pos x="31" y="68"/>
              </a:cxn>
              <a:cxn ang="0">
                <a:pos x="39" y="68"/>
              </a:cxn>
              <a:cxn ang="0">
                <a:pos x="47" y="68"/>
              </a:cxn>
              <a:cxn ang="0">
                <a:pos x="41" y="58"/>
              </a:cxn>
              <a:cxn ang="0">
                <a:pos x="38" y="48"/>
              </a:cxn>
              <a:cxn ang="0">
                <a:pos x="36" y="43"/>
              </a:cxn>
              <a:cxn ang="0">
                <a:pos x="35" y="38"/>
              </a:cxn>
              <a:cxn ang="0">
                <a:pos x="33" y="31"/>
              </a:cxn>
              <a:cxn ang="0">
                <a:pos x="33" y="25"/>
              </a:cxn>
              <a:cxn ang="0">
                <a:pos x="24" y="13"/>
              </a:cxn>
              <a:cxn ang="0">
                <a:pos x="14" y="0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grpSp>
        <p:nvGrpSpPr>
          <p:cNvPr id="2165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7329489" y="3309938"/>
            <a:ext cx="46037" cy="374650"/>
            <a:chOff x="3950" y="2430"/>
            <a:chExt cx="36" cy="234"/>
          </a:xfrm>
        </p:grpSpPr>
        <p:sp>
          <p:nvSpPr>
            <p:cNvPr id="2166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"/>
                </a:cxn>
                <a:cxn ang="0">
                  <a:pos x="19" y="14"/>
                </a:cxn>
                <a:cxn ang="0">
                  <a:pos x="14" y="8"/>
                </a:cxn>
                <a:cxn ang="0">
                  <a:pos x="10" y="4"/>
                </a:cxn>
                <a:cxn ang="0">
                  <a:pos x="4" y="1"/>
                </a:cxn>
                <a:cxn ang="0">
                  <a:pos x="0" y="0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67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68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0"/>
                </a:cxn>
                <a:cxn ang="0">
                  <a:pos x="19" y="0"/>
                </a:cxn>
                <a:cxn ang="0">
                  <a:pos x="10" y="0"/>
                </a:cxn>
                <a:cxn ang="0">
                  <a:pos x="0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69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70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71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5" y="1"/>
                </a:cxn>
                <a:cxn ang="0">
                  <a:pos x="3" y="2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72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3" y="5"/>
                </a:cxn>
                <a:cxn ang="0">
                  <a:pos x="9" y="12"/>
                </a:cxn>
                <a:cxn ang="0">
                  <a:pos x="5" y="19"/>
                </a:cxn>
                <a:cxn ang="0">
                  <a:pos x="0" y="24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73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74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75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0" y="0"/>
                </a:cxn>
                <a:cxn ang="0">
                  <a:pos x="7" y="0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76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77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6"/>
                </a:cxn>
                <a:cxn ang="0">
                  <a:pos x="0" y="0"/>
                </a:cxn>
                <a:cxn ang="0">
                  <a:pos x="0" y="18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78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6" y="13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79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28" y="19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80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/>
              <a:ahLst/>
              <a:cxnLst>
                <a:cxn ang="0">
                  <a:pos x="15" y="19"/>
                </a:cxn>
                <a:cxn ang="0">
                  <a:pos x="8" y="9"/>
                </a:cxn>
                <a:cxn ang="0">
                  <a:pos x="0" y="0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81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"/>
                </a:cxn>
                <a:cxn ang="0">
                  <a:pos x="19" y="14"/>
                </a:cxn>
                <a:cxn ang="0">
                  <a:pos x="14" y="8"/>
                </a:cxn>
                <a:cxn ang="0">
                  <a:pos x="10" y="4"/>
                </a:cxn>
                <a:cxn ang="0">
                  <a:pos x="4" y="1"/>
                </a:cxn>
                <a:cxn ang="0">
                  <a:pos x="0" y="0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82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83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0"/>
                </a:cxn>
                <a:cxn ang="0">
                  <a:pos x="19" y="0"/>
                </a:cxn>
                <a:cxn ang="0">
                  <a:pos x="10" y="0"/>
                </a:cxn>
                <a:cxn ang="0">
                  <a:pos x="0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84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85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86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5" y="1"/>
                </a:cxn>
                <a:cxn ang="0">
                  <a:pos x="3" y="2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87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3" y="5"/>
                </a:cxn>
                <a:cxn ang="0">
                  <a:pos x="9" y="12"/>
                </a:cxn>
                <a:cxn ang="0">
                  <a:pos x="5" y="19"/>
                </a:cxn>
                <a:cxn ang="0">
                  <a:pos x="0" y="24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88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89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90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0" y="0"/>
                </a:cxn>
                <a:cxn ang="0">
                  <a:pos x="7" y="0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91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92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6"/>
                </a:cxn>
                <a:cxn ang="0">
                  <a:pos x="0" y="0"/>
                </a:cxn>
                <a:cxn ang="0">
                  <a:pos x="0" y="18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93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6" y="13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94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28" y="19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95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/>
              <a:ahLst/>
              <a:cxnLst>
                <a:cxn ang="0">
                  <a:pos x="15" y="19"/>
                </a:cxn>
                <a:cxn ang="0">
                  <a:pos x="8" y="9"/>
                </a:cxn>
                <a:cxn ang="0">
                  <a:pos x="0" y="0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96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/>
              <a:ahLst/>
              <a:cxnLst>
                <a:cxn ang="0">
                  <a:pos x="13" y="18"/>
                </a:cxn>
                <a:cxn ang="0">
                  <a:pos x="20" y="0"/>
                </a:cxn>
                <a:cxn ang="0">
                  <a:pos x="0" y="0"/>
                </a:cxn>
                <a:cxn ang="0">
                  <a:pos x="13" y="18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2197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9394825" y="3810001"/>
            <a:ext cx="185738" cy="214313"/>
            <a:chOff x="5486" y="2743"/>
            <a:chExt cx="137" cy="132"/>
          </a:xfrm>
        </p:grpSpPr>
        <p:sp>
          <p:nvSpPr>
            <p:cNvPr id="2198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42"/>
                </a:cxn>
                <a:cxn ang="0">
                  <a:pos x="2" y="51"/>
                </a:cxn>
                <a:cxn ang="0">
                  <a:pos x="5" y="59"/>
                </a:cxn>
                <a:cxn ang="0">
                  <a:pos x="10" y="66"/>
                </a:cxn>
                <a:cxn ang="0">
                  <a:pos x="15" y="72"/>
                </a:cxn>
                <a:cxn ang="0">
                  <a:pos x="22" y="77"/>
                </a:cxn>
                <a:cxn ang="0">
                  <a:pos x="31" y="82"/>
                </a:cxn>
                <a:cxn ang="0">
                  <a:pos x="40" y="87"/>
                </a:cxn>
                <a:cxn ang="0">
                  <a:pos x="35" y="82"/>
                </a:cxn>
                <a:cxn ang="0">
                  <a:pos x="32" y="77"/>
                </a:cxn>
                <a:cxn ang="0">
                  <a:pos x="29" y="71"/>
                </a:cxn>
                <a:cxn ang="0">
                  <a:pos x="26" y="65"/>
                </a:cxn>
                <a:cxn ang="0">
                  <a:pos x="22" y="52"/>
                </a:cxn>
                <a:cxn ang="0">
                  <a:pos x="20" y="39"/>
                </a:cxn>
                <a:cxn ang="0">
                  <a:pos x="18" y="27"/>
                </a:cxn>
                <a:cxn ang="0">
                  <a:pos x="13" y="16"/>
                </a:cxn>
                <a:cxn ang="0">
                  <a:pos x="11" y="11"/>
                </a:cxn>
                <a:cxn ang="0">
                  <a:pos x="8" y="6"/>
                </a:cxn>
                <a:cxn ang="0">
                  <a:pos x="4" y="3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6"/>
                </a:cxn>
                <a:cxn ang="0">
                  <a:pos x="0" y="23"/>
                </a:cxn>
                <a:cxn ang="0">
                  <a:pos x="0" y="31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199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19" y="32"/>
                </a:cxn>
                <a:cxn ang="0">
                  <a:pos x="35" y="34"/>
                </a:cxn>
                <a:cxn ang="0">
                  <a:pos x="49" y="36"/>
                </a:cxn>
                <a:cxn ang="0">
                  <a:pos x="61" y="37"/>
                </a:cxn>
                <a:cxn ang="0">
                  <a:pos x="55" y="29"/>
                </a:cxn>
                <a:cxn ang="0">
                  <a:pos x="49" y="22"/>
                </a:cxn>
                <a:cxn ang="0">
                  <a:pos x="42" y="17"/>
                </a:cxn>
                <a:cxn ang="0">
                  <a:pos x="35" y="12"/>
                </a:cxn>
                <a:cxn ang="0">
                  <a:pos x="28" y="9"/>
                </a:cxn>
                <a:cxn ang="0">
                  <a:pos x="19" y="5"/>
                </a:cxn>
                <a:cxn ang="0">
                  <a:pos x="10" y="2"/>
                </a:cxn>
                <a:cxn ang="0">
                  <a:pos x="0" y="0"/>
                </a:cxn>
                <a:cxn ang="0">
                  <a:pos x="0" y="31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00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/>
              <a:ahLst/>
              <a:cxnLst>
                <a:cxn ang="0">
                  <a:pos x="40" y="30"/>
                </a:cxn>
                <a:cxn ang="0">
                  <a:pos x="33" y="28"/>
                </a:cxn>
                <a:cxn ang="0">
                  <a:pos x="26" y="25"/>
                </a:cxn>
                <a:cxn ang="0">
                  <a:pos x="21" y="22"/>
                </a:cxn>
                <a:cxn ang="0">
                  <a:pos x="15" y="19"/>
                </a:cxn>
                <a:cxn ang="0">
                  <a:pos x="11" y="16"/>
                </a:cxn>
                <a:cxn ang="0">
                  <a:pos x="6" y="11"/>
                </a:cxn>
                <a:cxn ang="0">
                  <a:pos x="3" y="6"/>
                </a:cxn>
                <a:cxn ang="0">
                  <a:pos x="0" y="0"/>
                </a:cxn>
                <a:cxn ang="0">
                  <a:pos x="8" y="2"/>
                </a:cxn>
                <a:cxn ang="0">
                  <a:pos x="15" y="6"/>
                </a:cxn>
                <a:cxn ang="0">
                  <a:pos x="22" y="10"/>
                </a:cxn>
                <a:cxn ang="0">
                  <a:pos x="27" y="15"/>
                </a:cxn>
                <a:cxn ang="0">
                  <a:pos x="33" y="19"/>
                </a:cxn>
                <a:cxn ang="0">
                  <a:pos x="36" y="23"/>
                </a:cxn>
                <a:cxn ang="0">
                  <a:pos x="39" y="27"/>
                </a:cxn>
                <a:cxn ang="0">
                  <a:pos x="40" y="30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01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/>
              <a:ahLst/>
              <a:cxnLst>
                <a:cxn ang="0">
                  <a:pos x="74" y="80"/>
                </a:cxn>
                <a:cxn ang="0">
                  <a:pos x="72" y="73"/>
                </a:cxn>
                <a:cxn ang="0">
                  <a:pos x="71" y="66"/>
                </a:cxn>
                <a:cxn ang="0">
                  <a:pos x="69" y="60"/>
                </a:cxn>
                <a:cxn ang="0">
                  <a:pos x="66" y="53"/>
                </a:cxn>
                <a:cxn ang="0">
                  <a:pos x="58" y="42"/>
                </a:cxn>
                <a:cxn ang="0">
                  <a:pos x="48" y="33"/>
                </a:cxn>
                <a:cxn ang="0">
                  <a:pos x="38" y="25"/>
                </a:cxn>
                <a:cxn ang="0">
                  <a:pos x="29" y="17"/>
                </a:cxn>
                <a:cxn ang="0">
                  <a:pos x="20" y="9"/>
                </a:cxn>
                <a:cxn ang="0">
                  <a:pos x="13" y="0"/>
                </a:cxn>
                <a:cxn ang="0">
                  <a:pos x="9" y="5"/>
                </a:cxn>
                <a:cxn ang="0">
                  <a:pos x="4" y="10"/>
                </a:cxn>
                <a:cxn ang="0">
                  <a:pos x="1" y="14"/>
                </a:cxn>
                <a:cxn ang="0">
                  <a:pos x="0" y="19"/>
                </a:cxn>
                <a:cxn ang="0">
                  <a:pos x="0" y="25"/>
                </a:cxn>
                <a:cxn ang="0">
                  <a:pos x="2" y="30"/>
                </a:cxn>
                <a:cxn ang="0">
                  <a:pos x="4" y="36"/>
                </a:cxn>
                <a:cxn ang="0">
                  <a:pos x="7" y="41"/>
                </a:cxn>
                <a:cxn ang="0">
                  <a:pos x="10" y="46"/>
                </a:cxn>
                <a:cxn ang="0">
                  <a:pos x="14" y="51"/>
                </a:cxn>
                <a:cxn ang="0">
                  <a:pos x="19" y="56"/>
                </a:cxn>
                <a:cxn ang="0">
                  <a:pos x="24" y="61"/>
                </a:cxn>
                <a:cxn ang="0">
                  <a:pos x="30" y="66"/>
                </a:cxn>
                <a:cxn ang="0">
                  <a:pos x="35" y="69"/>
                </a:cxn>
                <a:cxn ang="0">
                  <a:pos x="42" y="72"/>
                </a:cxn>
                <a:cxn ang="0">
                  <a:pos x="47" y="75"/>
                </a:cxn>
                <a:cxn ang="0">
                  <a:pos x="54" y="77"/>
                </a:cxn>
                <a:cxn ang="0">
                  <a:pos x="60" y="79"/>
                </a:cxn>
                <a:cxn ang="0">
                  <a:pos x="67" y="80"/>
                </a:cxn>
                <a:cxn ang="0">
                  <a:pos x="74" y="80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02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/>
              <a:ahLst/>
              <a:cxnLst>
                <a:cxn ang="0">
                  <a:pos x="52" y="80"/>
                </a:cxn>
                <a:cxn ang="0">
                  <a:pos x="86" y="80"/>
                </a:cxn>
                <a:cxn ang="0">
                  <a:pos x="86" y="61"/>
                </a:cxn>
                <a:cxn ang="0">
                  <a:pos x="79" y="59"/>
                </a:cxn>
                <a:cxn ang="0">
                  <a:pos x="72" y="56"/>
                </a:cxn>
                <a:cxn ang="0">
                  <a:pos x="67" y="53"/>
                </a:cxn>
                <a:cxn ang="0">
                  <a:pos x="61" y="49"/>
                </a:cxn>
                <a:cxn ang="0">
                  <a:pos x="51" y="41"/>
                </a:cxn>
                <a:cxn ang="0">
                  <a:pos x="43" y="33"/>
                </a:cxn>
                <a:cxn ang="0">
                  <a:pos x="34" y="25"/>
                </a:cxn>
                <a:cxn ang="0">
                  <a:pos x="24" y="16"/>
                </a:cxn>
                <a:cxn ang="0">
                  <a:pos x="13" y="7"/>
                </a:cxn>
                <a:cxn ang="0">
                  <a:pos x="0" y="0"/>
                </a:cxn>
                <a:cxn ang="0">
                  <a:pos x="1" y="8"/>
                </a:cxn>
                <a:cxn ang="0">
                  <a:pos x="5" y="20"/>
                </a:cxn>
                <a:cxn ang="0">
                  <a:pos x="11" y="32"/>
                </a:cxn>
                <a:cxn ang="0">
                  <a:pos x="18" y="44"/>
                </a:cxn>
                <a:cxn ang="0">
                  <a:pos x="27" y="57"/>
                </a:cxn>
                <a:cxn ang="0">
                  <a:pos x="36" y="67"/>
                </a:cxn>
                <a:cxn ang="0">
                  <a:pos x="40" y="72"/>
                </a:cxn>
                <a:cxn ang="0">
                  <a:pos x="45" y="76"/>
                </a:cxn>
                <a:cxn ang="0">
                  <a:pos x="49" y="79"/>
                </a:cxn>
                <a:cxn ang="0">
                  <a:pos x="52" y="80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03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3" y="11"/>
                </a:cxn>
                <a:cxn ang="0">
                  <a:pos x="5" y="15"/>
                </a:cxn>
                <a:cxn ang="0">
                  <a:pos x="9" y="18"/>
                </a:cxn>
                <a:cxn ang="0">
                  <a:pos x="14" y="21"/>
                </a:cxn>
                <a:cxn ang="0">
                  <a:pos x="18" y="24"/>
                </a:cxn>
                <a:cxn ang="0">
                  <a:pos x="23" y="26"/>
                </a:cxn>
                <a:cxn ang="0">
                  <a:pos x="29" y="28"/>
                </a:cxn>
                <a:cxn ang="0">
                  <a:pos x="34" y="29"/>
                </a:cxn>
                <a:cxn ang="0">
                  <a:pos x="47" y="31"/>
                </a:cxn>
                <a:cxn ang="0">
                  <a:pos x="58" y="31"/>
                </a:cxn>
                <a:cxn ang="0">
                  <a:pos x="63" y="30"/>
                </a:cxn>
                <a:cxn ang="0">
                  <a:pos x="67" y="29"/>
                </a:cxn>
                <a:cxn ang="0">
                  <a:pos x="71" y="27"/>
                </a:cxn>
                <a:cxn ang="0">
                  <a:pos x="74" y="25"/>
                </a:cxn>
                <a:cxn ang="0">
                  <a:pos x="64" y="18"/>
                </a:cxn>
                <a:cxn ang="0">
                  <a:pos x="55" y="13"/>
                </a:cxn>
                <a:cxn ang="0">
                  <a:pos x="51" y="10"/>
                </a:cxn>
                <a:cxn ang="0">
                  <a:pos x="47" y="8"/>
                </a:cxn>
                <a:cxn ang="0">
                  <a:pos x="43" y="5"/>
                </a:cxn>
                <a:cxn ang="0">
                  <a:pos x="41" y="0"/>
                </a:cxn>
                <a:cxn ang="0">
                  <a:pos x="33" y="1"/>
                </a:cxn>
                <a:cxn ang="0">
                  <a:pos x="28" y="1"/>
                </a:cxn>
                <a:cxn ang="0">
                  <a:pos x="22" y="1"/>
                </a:cxn>
                <a:cxn ang="0">
                  <a:pos x="18" y="0"/>
                </a:cxn>
                <a:cxn ang="0">
                  <a:pos x="14" y="0"/>
                </a:cxn>
                <a:cxn ang="0">
                  <a:pos x="10" y="0"/>
                </a:cxn>
                <a:cxn ang="0">
                  <a:pos x="6" y="3"/>
                </a:cxn>
                <a:cxn ang="0">
                  <a:pos x="0" y="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04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0" y="0"/>
                </a:cxn>
                <a:cxn ang="0">
                  <a:pos x="10" y="0"/>
                </a:cxn>
                <a:cxn ang="0">
                  <a:pos x="20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05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/>
              <a:ahLst/>
              <a:cxnLst>
                <a:cxn ang="0">
                  <a:pos x="7" y="25"/>
                </a:cxn>
                <a:cxn ang="0">
                  <a:pos x="35" y="40"/>
                </a:cxn>
                <a:cxn ang="0">
                  <a:pos x="61" y="55"/>
                </a:cxn>
                <a:cxn ang="0">
                  <a:pos x="72" y="60"/>
                </a:cxn>
                <a:cxn ang="0">
                  <a:pos x="83" y="65"/>
                </a:cxn>
                <a:cxn ang="0">
                  <a:pos x="87" y="65"/>
                </a:cxn>
                <a:cxn ang="0">
                  <a:pos x="91" y="65"/>
                </a:cxn>
                <a:cxn ang="0">
                  <a:pos x="96" y="65"/>
                </a:cxn>
                <a:cxn ang="0">
                  <a:pos x="100" y="62"/>
                </a:cxn>
                <a:cxn ang="0">
                  <a:pos x="94" y="60"/>
                </a:cxn>
                <a:cxn ang="0">
                  <a:pos x="88" y="56"/>
                </a:cxn>
                <a:cxn ang="0">
                  <a:pos x="83" y="52"/>
                </a:cxn>
                <a:cxn ang="0">
                  <a:pos x="78" y="46"/>
                </a:cxn>
                <a:cxn ang="0">
                  <a:pos x="67" y="34"/>
                </a:cxn>
                <a:cxn ang="0">
                  <a:pos x="57" y="21"/>
                </a:cxn>
                <a:cxn ang="0">
                  <a:pos x="52" y="15"/>
                </a:cxn>
                <a:cxn ang="0">
                  <a:pos x="46" y="10"/>
                </a:cxn>
                <a:cxn ang="0">
                  <a:pos x="40" y="4"/>
                </a:cxn>
                <a:cxn ang="0">
                  <a:pos x="33" y="1"/>
                </a:cxn>
                <a:cxn ang="0">
                  <a:pos x="27" y="0"/>
                </a:cxn>
                <a:cxn ang="0">
                  <a:pos x="18" y="0"/>
                </a:cxn>
                <a:cxn ang="0">
                  <a:pos x="10" y="2"/>
                </a:cxn>
                <a:cxn ang="0">
                  <a:pos x="0" y="6"/>
                </a:cxn>
                <a:cxn ang="0">
                  <a:pos x="7" y="25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206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/>
              <a:ahLst/>
              <a:cxnLst>
                <a:cxn ang="0">
                  <a:pos x="72" y="85"/>
                </a:cxn>
                <a:cxn ang="0">
                  <a:pos x="56" y="61"/>
                </a:cxn>
                <a:cxn ang="0">
                  <a:pos x="43" y="41"/>
                </a:cxn>
                <a:cxn ang="0">
                  <a:pos x="29" y="20"/>
                </a:cxn>
                <a:cxn ang="0">
                  <a:pos x="12" y="0"/>
                </a:cxn>
                <a:cxn ang="0">
                  <a:pos x="6" y="16"/>
                </a:cxn>
                <a:cxn ang="0">
                  <a:pos x="2" y="33"/>
                </a:cxn>
                <a:cxn ang="0">
                  <a:pos x="0" y="40"/>
                </a:cxn>
                <a:cxn ang="0">
                  <a:pos x="0" y="48"/>
                </a:cxn>
                <a:cxn ang="0">
                  <a:pos x="0" y="55"/>
                </a:cxn>
                <a:cxn ang="0">
                  <a:pos x="0" y="62"/>
                </a:cxn>
                <a:cxn ang="0">
                  <a:pos x="1" y="68"/>
                </a:cxn>
                <a:cxn ang="0">
                  <a:pos x="3" y="74"/>
                </a:cxn>
                <a:cxn ang="0">
                  <a:pos x="6" y="79"/>
                </a:cxn>
                <a:cxn ang="0">
                  <a:pos x="10" y="83"/>
                </a:cxn>
                <a:cxn ang="0">
                  <a:pos x="14" y="88"/>
                </a:cxn>
                <a:cxn ang="0">
                  <a:pos x="20" y="90"/>
                </a:cxn>
                <a:cxn ang="0">
                  <a:pos x="25" y="92"/>
                </a:cxn>
                <a:cxn ang="0">
                  <a:pos x="33" y="92"/>
                </a:cxn>
                <a:cxn ang="0">
                  <a:pos x="43" y="93"/>
                </a:cxn>
                <a:cxn ang="0">
                  <a:pos x="54" y="96"/>
                </a:cxn>
                <a:cxn ang="0">
                  <a:pos x="65" y="100"/>
                </a:cxn>
                <a:cxn ang="0">
                  <a:pos x="79" y="104"/>
                </a:cxn>
                <a:cxn ang="0">
                  <a:pos x="72" y="85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2207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5740401" y="3548063"/>
            <a:ext cx="11113" cy="55562"/>
          </a:xfrm>
          <a:custGeom>
            <a:avLst/>
            <a:gdLst/>
            <a:ahLst/>
            <a:cxnLst>
              <a:cxn ang="0">
                <a:pos x="27" y="0"/>
              </a:cxn>
              <a:cxn ang="0">
                <a:pos x="27" y="12"/>
              </a:cxn>
              <a:cxn ang="0">
                <a:pos x="27" y="19"/>
              </a:cxn>
              <a:cxn ang="0">
                <a:pos x="9" y="19"/>
              </a:cxn>
              <a:cxn ang="0">
                <a:pos x="0" y="19"/>
              </a:cxn>
              <a:cxn ang="0">
                <a:pos x="9" y="12"/>
              </a:cxn>
              <a:cxn ang="0">
                <a:pos x="27" y="0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08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5664200" y="3687763"/>
            <a:ext cx="14288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9" y="0"/>
              </a:cxn>
              <a:cxn ang="0">
                <a:pos x="36" y="9"/>
              </a:cxn>
              <a:cxn ang="0">
                <a:pos x="33" y="19"/>
              </a:cxn>
              <a:cxn ang="0">
                <a:pos x="27" y="28"/>
              </a:cxn>
              <a:cxn ang="0">
                <a:pos x="22" y="34"/>
              </a:cxn>
              <a:cxn ang="0">
                <a:pos x="19" y="35"/>
              </a:cxn>
              <a:cxn ang="0">
                <a:pos x="16" y="35"/>
              </a:cxn>
              <a:cxn ang="0">
                <a:pos x="13" y="34"/>
              </a:cxn>
              <a:cxn ang="0">
                <a:pos x="11" y="31"/>
              </a:cxn>
              <a:cxn ang="0">
                <a:pos x="7" y="26"/>
              </a:cxn>
              <a:cxn ang="0">
                <a:pos x="5" y="20"/>
              </a:cxn>
              <a:cxn ang="0">
                <a:pos x="2" y="11"/>
              </a:cxn>
              <a:cxn ang="0">
                <a:pos x="0" y="0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09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7462838" y="2014539"/>
            <a:ext cx="728662" cy="331787"/>
          </a:xfrm>
          <a:custGeom>
            <a:avLst/>
            <a:gdLst/>
            <a:ahLst/>
            <a:cxnLst>
              <a:cxn ang="0">
                <a:pos x="32" y="216"/>
              </a:cxn>
              <a:cxn ang="0">
                <a:pos x="86" y="249"/>
              </a:cxn>
              <a:cxn ang="0">
                <a:pos x="155" y="264"/>
              </a:cxn>
              <a:cxn ang="0">
                <a:pos x="191" y="281"/>
              </a:cxn>
              <a:cxn ang="0">
                <a:pos x="238" y="331"/>
              </a:cxn>
              <a:cxn ang="0">
                <a:pos x="253" y="349"/>
              </a:cxn>
              <a:cxn ang="0">
                <a:pos x="254" y="386"/>
              </a:cxn>
              <a:cxn ang="0">
                <a:pos x="273" y="408"/>
              </a:cxn>
              <a:cxn ang="0">
                <a:pos x="341" y="416"/>
              </a:cxn>
              <a:cxn ang="0">
                <a:pos x="463" y="452"/>
              </a:cxn>
              <a:cxn ang="0">
                <a:pos x="546" y="469"/>
              </a:cxn>
              <a:cxn ang="0">
                <a:pos x="575" y="510"/>
              </a:cxn>
              <a:cxn ang="0">
                <a:pos x="622" y="542"/>
              </a:cxn>
              <a:cxn ang="0">
                <a:pos x="670" y="555"/>
              </a:cxn>
              <a:cxn ang="0">
                <a:pos x="917" y="576"/>
              </a:cxn>
              <a:cxn ang="0">
                <a:pos x="1037" y="614"/>
              </a:cxn>
              <a:cxn ang="0">
                <a:pos x="1117" y="630"/>
              </a:cxn>
              <a:cxn ang="0">
                <a:pos x="1157" y="613"/>
              </a:cxn>
              <a:cxn ang="0">
                <a:pos x="1344" y="564"/>
              </a:cxn>
              <a:cxn ang="0">
                <a:pos x="1395" y="510"/>
              </a:cxn>
              <a:cxn ang="0">
                <a:pos x="1403" y="483"/>
              </a:cxn>
              <a:cxn ang="0">
                <a:pos x="1386" y="455"/>
              </a:cxn>
              <a:cxn ang="0">
                <a:pos x="1370" y="415"/>
              </a:cxn>
              <a:cxn ang="0">
                <a:pos x="1499" y="394"/>
              </a:cxn>
              <a:cxn ang="0">
                <a:pos x="1594" y="343"/>
              </a:cxn>
              <a:cxn ang="0">
                <a:pos x="1651" y="325"/>
              </a:cxn>
              <a:cxn ang="0">
                <a:pos x="1688" y="297"/>
              </a:cxn>
              <a:cxn ang="0">
                <a:pos x="1656" y="279"/>
              </a:cxn>
              <a:cxn ang="0">
                <a:pos x="1619" y="252"/>
              </a:cxn>
              <a:cxn ang="0">
                <a:pos x="1583" y="248"/>
              </a:cxn>
              <a:cxn ang="0">
                <a:pos x="1553" y="258"/>
              </a:cxn>
              <a:cxn ang="0">
                <a:pos x="1497" y="256"/>
              </a:cxn>
              <a:cxn ang="0">
                <a:pos x="1457" y="235"/>
              </a:cxn>
              <a:cxn ang="0">
                <a:pos x="1434" y="187"/>
              </a:cxn>
              <a:cxn ang="0">
                <a:pos x="1367" y="124"/>
              </a:cxn>
              <a:cxn ang="0">
                <a:pos x="1286" y="120"/>
              </a:cxn>
              <a:cxn ang="0">
                <a:pos x="1260" y="147"/>
              </a:cxn>
              <a:cxn ang="0">
                <a:pos x="1236" y="165"/>
              </a:cxn>
              <a:cxn ang="0">
                <a:pos x="1168" y="167"/>
              </a:cxn>
              <a:cxn ang="0">
                <a:pos x="1044" y="167"/>
              </a:cxn>
              <a:cxn ang="0">
                <a:pos x="986" y="140"/>
              </a:cxn>
              <a:cxn ang="0">
                <a:pos x="922" y="108"/>
              </a:cxn>
              <a:cxn ang="0">
                <a:pos x="852" y="100"/>
              </a:cxn>
              <a:cxn ang="0">
                <a:pos x="801" y="114"/>
              </a:cxn>
              <a:cxn ang="0">
                <a:pos x="740" y="116"/>
              </a:cxn>
              <a:cxn ang="0">
                <a:pos x="692" y="101"/>
              </a:cxn>
              <a:cxn ang="0">
                <a:pos x="662" y="68"/>
              </a:cxn>
              <a:cxn ang="0">
                <a:pos x="446" y="7"/>
              </a:cxn>
              <a:cxn ang="0">
                <a:pos x="446" y="44"/>
              </a:cxn>
              <a:cxn ang="0">
                <a:pos x="471" y="79"/>
              </a:cxn>
              <a:cxn ang="0">
                <a:pos x="490" y="106"/>
              </a:cxn>
              <a:cxn ang="0">
                <a:pos x="307" y="122"/>
              </a:cxn>
              <a:cxn ang="0">
                <a:pos x="294" y="87"/>
              </a:cxn>
              <a:cxn ang="0">
                <a:pos x="225" y="97"/>
              </a:cxn>
              <a:cxn ang="0">
                <a:pos x="185" y="88"/>
              </a:cxn>
              <a:cxn ang="0">
                <a:pos x="138" y="97"/>
              </a:cxn>
              <a:cxn ang="0">
                <a:pos x="68" y="143"/>
              </a:cxn>
              <a:cxn ang="0">
                <a:pos x="31" y="151"/>
              </a:cxn>
              <a:cxn ang="0">
                <a:pos x="4" y="169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10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3789363" y="3981451"/>
            <a:ext cx="328612" cy="415925"/>
          </a:xfrm>
          <a:custGeom>
            <a:avLst/>
            <a:gdLst/>
            <a:ahLst/>
            <a:cxnLst>
              <a:cxn ang="0">
                <a:pos x="26" y="80"/>
              </a:cxn>
              <a:cxn ang="0">
                <a:pos x="49" y="88"/>
              </a:cxn>
              <a:cxn ang="0">
                <a:pos x="72" y="108"/>
              </a:cxn>
              <a:cxn ang="0">
                <a:pos x="88" y="134"/>
              </a:cxn>
              <a:cxn ang="0">
                <a:pos x="93" y="169"/>
              </a:cxn>
              <a:cxn ang="0">
                <a:pos x="84" y="186"/>
              </a:cxn>
              <a:cxn ang="0">
                <a:pos x="81" y="205"/>
              </a:cxn>
              <a:cxn ang="0">
                <a:pos x="88" y="240"/>
              </a:cxn>
              <a:cxn ang="0">
                <a:pos x="95" y="278"/>
              </a:cxn>
              <a:cxn ang="0">
                <a:pos x="83" y="308"/>
              </a:cxn>
              <a:cxn ang="0">
                <a:pos x="81" y="352"/>
              </a:cxn>
              <a:cxn ang="0">
                <a:pos x="93" y="390"/>
              </a:cxn>
              <a:cxn ang="0">
                <a:pos x="99" y="415"/>
              </a:cxn>
              <a:cxn ang="0">
                <a:pos x="78" y="457"/>
              </a:cxn>
              <a:cxn ang="0">
                <a:pos x="113" y="529"/>
              </a:cxn>
              <a:cxn ang="0">
                <a:pos x="138" y="577"/>
              </a:cxn>
              <a:cxn ang="0">
                <a:pos x="146" y="622"/>
              </a:cxn>
              <a:cxn ang="0">
                <a:pos x="152" y="659"/>
              </a:cxn>
              <a:cxn ang="0">
                <a:pos x="187" y="738"/>
              </a:cxn>
              <a:cxn ang="0">
                <a:pos x="214" y="782"/>
              </a:cxn>
              <a:cxn ang="0">
                <a:pos x="230" y="794"/>
              </a:cxn>
              <a:cxn ang="0">
                <a:pos x="251" y="790"/>
              </a:cxn>
              <a:cxn ang="0">
                <a:pos x="289" y="761"/>
              </a:cxn>
              <a:cxn ang="0">
                <a:pos x="324" y="746"/>
              </a:cxn>
              <a:cxn ang="0">
                <a:pos x="355" y="748"/>
              </a:cxn>
              <a:cxn ang="0">
                <a:pos x="388" y="770"/>
              </a:cxn>
              <a:cxn ang="0">
                <a:pos x="418" y="780"/>
              </a:cxn>
              <a:cxn ang="0">
                <a:pos x="437" y="758"/>
              </a:cxn>
              <a:cxn ang="0">
                <a:pos x="478" y="745"/>
              </a:cxn>
              <a:cxn ang="0">
                <a:pos x="525" y="622"/>
              </a:cxn>
              <a:cxn ang="0">
                <a:pos x="539" y="600"/>
              </a:cxn>
              <a:cxn ang="0">
                <a:pos x="575" y="584"/>
              </a:cxn>
              <a:cxn ang="0">
                <a:pos x="665" y="573"/>
              </a:cxn>
              <a:cxn ang="0">
                <a:pos x="687" y="579"/>
              </a:cxn>
              <a:cxn ang="0">
                <a:pos x="704" y="585"/>
              </a:cxn>
              <a:cxn ang="0">
                <a:pos x="744" y="573"/>
              </a:cxn>
              <a:cxn ang="0">
                <a:pos x="757" y="541"/>
              </a:cxn>
              <a:cxn ang="0">
                <a:pos x="752" y="499"/>
              </a:cxn>
              <a:cxn ang="0">
                <a:pos x="726" y="462"/>
              </a:cxn>
              <a:cxn ang="0">
                <a:pos x="710" y="435"/>
              </a:cxn>
              <a:cxn ang="0">
                <a:pos x="671" y="401"/>
              </a:cxn>
              <a:cxn ang="0">
                <a:pos x="633" y="399"/>
              </a:cxn>
              <a:cxn ang="0">
                <a:pos x="605" y="378"/>
              </a:cxn>
              <a:cxn ang="0">
                <a:pos x="590" y="349"/>
              </a:cxn>
              <a:cxn ang="0">
                <a:pos x="585" y="311"/>
              </a:cxn>
              <a:cxn ang="0">
                <a:pos x="583" y="269"/>
              </a:cxn>
              <a:cxn ang="0">
                <a:pos x="560" y="242"/>
              </a:cxn>
              <a:cxn ang="0">
                <a:pos x="503" y="205"/>
              </a:cxn>
              <a:cxn ang="0">
                <a:pos x="440" y="178"/>
              </a:cxn>
              <a:cxn ang="0">
                <a:pos x="392" y="167"/>
              </a:cxn>
              <a:cxn ang="0">
                <a:pos x="359" y="161"/>
              </a:cxn>
              <a:cxn ang="0">
                <a:pos x="330" y="145"/>
              </a:cxn>
              <a:cxn ang="0">
                <a:pos x="307" y="122"/>
              </a:cxn>
              <a:cxn ang="0">
                <a:pos x="292" y="92"/>
              </a:cxn>
              <a:cxn ang="0">
                <a:pos x="279" y="19"/>
              </a:cxn>
              <a:cxn ang="0">
                <a:pos x="261" y="3"/>
              </a:cxn>
              <a:cxn ang="0">
                <a:pos x="227" y="3"/>
              </a:cxn>
              <a:cxn ang="0">
                <a:pos x="173" y="30"/>
              </a:cxn>
              <a:cxn ang="0">
                <a:pos x="119" y="66"/>
              </a:cxn>
              <a:cxn ang="0">
                <a:pos x="0" y="80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11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4003676" y="3411538"/>
            <a:ext cx="119063" cy="215900"/>
          </a:xfrm>
          <a:custGeom>
            <a:avLst/>
            <a:gdLst/>
            <a:ahLst/>
            <a:cxnLst>
              <a:cxn ang="0">
                <a:pos x="225" y="140"/>
              </a:cxn>
              <a:cxn ang="0">
                <a:pos x="213" y="133"/>
              </a:cxn>
              <a:cxn ang="0">
                <a:pos x="201" y="121"/>
              </a:cxn>
              <a:cxn ang="0">
                <a:pos x="190" y="105"/>
              </a:cxn>
              <a:cxn ang="0">
                <a:pos x="183" y="96"/>
              </a:cxn>
              <a:cxn ang="0">
                <a:pos x="176" y="93"/>
              </a:cxn>
              <a:cxn ang="0">
                <a:pos x="167" y="94"/>
              </a:cxn>
              <a:cxn ang="0">
                <a:pos x="161" y="101"/>
              </a:cxn>
              <a:cxn ang="0">
                <a:pos x="153" y="86"/>
              </a:cxn>
              <a:cxn ang="0">
                <a:pos x="142" y="54"/>
              </a:cxn>
              <a:cxn ang="0">
                <a:pos x="132" y="36"/>
              </a:cxn>
              <a:cxn ang="0">
                <a:pos x="123" y="25"/>
              </a:cxn>
              <a:cxn ang="0">
                <a:pos x="111" y="14"/>
              </a:cxn>
              <a:cxn ang="0">
                <a:pos x="96" y="5"/>
              </a:cxn>
              <a:cxn ang="0">
                <a:pos x="80" y="7"/>
              </a:cxn>
              <a:cxn ang="0">
                <a:pos x="69" y="19"/>
              </a:cxn>
              <a:cxn ang="0">
                <a:pos x="63" y="25"/>
              </a:cxn>
              <a:cxn ang="0">
                <a:pos x="57" y="32"/>
              </a:cxn>
              <a:cxn ang="0">
                <a:pos x="56" y="42"/>
              </a:cxn>
              <a:cxn ang="0">
                <a:pos x="58" y="59"/>
              </a:cxn>
              <a:cxn ang="0">
                <a:pos x="52" y="78"/>
              </a:cxn>
              <a:cxn ang="0">
                <a:pos x="33" y="90"/>
              </a:cxn>
              <a:cxn ang="0">
                <a:pos x="17" y="104"/>
              </a:cxn>
              <a:cxn ang="0">
                <a:pos x="4" y="118"/>
              </a:cxn>
              <a:cxn ang="0">
                <a:pos x="40" y="198"/>
              </a:cxn>
              <a:cxn ang="0">
                <a:pos x="73" y="205"/>
              </a:cxn>
              <a:cxn ang="0">
                <a:pos x="84" y="210"/>
              </a:cxn>
              <a:cxn ang="0">
                <a:pos x="93" y="218"/>
              </a:cxn>
              <a:cxn ang="0">
                <a:pos x="99" y="226"/>
              </a:cxn>
              <a:cxn ang="0">
                <a:pos x="103" y="237"/>
              </a:cxn>
              <a:cxn ang="0">
                <a:pos x="106" y="265"/>
              </a:cxn>
              <a:cxn ang="0">
                <a:pos x="103" y="279"/>
              </a:cxn>
              <a:cxn ang="0">
                <a:pos x="96" y="293"/>
              </a:cxn>
              <a:cxn ang="0">
                <a:pos x="89" y="307"/>
              </a:cxn>
              <a:cxn ang="0">
                <a:pos x="86" y="321"/>
              </a:cxn>
              <a:cxn ang="0">
                <a:pos x="91" y="343"/>
              </a:cxn>
              <a:cxn ang="0">
                <a:pos x="107" y="374"/>
              </a:cxn>
              <a:cxn ang="0">
                <a:pos x="117" y="389"/>
              </a:cxn>
              <a:cxn ang="0">
                <a:pos x="129" y="401"/>
              </a:cxn>
              <a:cxn ang="0">
                <a:pos x="141" y="411"/>
              </a:cxn>
              <a:cxn ang="0">
                <a:pos x="153" y="414"/>
              </a:cxn>
              <a:cxn ang="0">
                <a:pos x="215" y="398"/>
              </a:cxn>
              <a:cxn ang="0">
                <a:pos x="255" y="385"/>
              </a:cxn>
              <a:cxn ang="0">
                <a:pos x="267" y="377"/>
              </a:cxn>
              <a:cxn ang="0">
                <a:pos x="273" y="370"/>
              </a:cxn>
              <a:cxn ang="0">
                <a:pos x="269" y="352"/>
              </a:cxn>
              <a:cxn ang="0">
                <a:pos x="263" y="335"/>
              </a:cxn>
              <a:cxn ang="0">
                <a:pos x="242" y="309"/>
              </a:cxn>
              <a:cxn ang="0">
                <a:pos x="222" y="282"/>
              </a:cxn>
              <a:cxn ang="0">
                <a:pos x="215" y="266"/>
              </a:cxn>
              <a:cxn ang="0">
                <a:pos x="212" y="247"/>
              </a:cxn>
              <a:cxn ang="0">
                <a:pos x="215" y="215"/>
              </a:cxn>
              <a:cxn ang="0">
                <a:pos x="222" y="190"/>
              </a:cxn>
              <a:cxn ang="0">
                <a:pos x="230" y="167"/>
              </a:cxn>
              <a:cxn ang="0">
                <a:pos x="232" y="142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grpSp>
        <p:nvGrpSpPr>
          <p:cNvPr id="2212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3717925" y="3246439"/>
            <a:ext cx="323850" cy="401637"/>
            <a:chOff x="1486" y="2412"/>
            <a:chExt cx="244" cy="256"/>
          </a:xfrm>
        </p:grpSpPr>
        <p:sp>
          <p:nvSpPr>
            <p:cNvPr id="2213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6" y="20"/>
                </a:cxn>
                <a:cxn ang="0">
                  <a:pos x="10" y="21"/>
                </a:cxn>
                <a:cxn ang="0">
                  <a:pos x="14" y="22"/>
                </a:cxn>
                <a:cxn ang="0">
                  <a:pos x="20" y="22"/>
                </a:cxn>
                <a:cxn ang="0">
                  <a:pos x="23" y="22"/>
                </a:cxn>
                <a:cxn ang="0">
                  <a:pos x="27" y="21"/>
                </a:cxn>
                <a:cxn ang="0">
                  <a:pos x="31" y="20"/>
                </a:cxn>
                <a:cxn ang="0">
                  <a:pos x="33" y="18"/>
                </a:cxn>
                <a:cxn ang="0">
                  <a:pos x="35" y="16"/>
                </a:cxn>
                <a:cxn ang="0">
                  <a:pos x="41" y="12"/>
                </a:cxn>
                <a:cxn ang="0">
                  <a:pos x="47" y="8"/>
                </a:cxn>
                <a:cxn ang="0">
                  <a:pos x="54" y="6"/>
                </a:cxn>
                <a:cxn ang="0">
                  <a:pos x="36" y="5"/>
                </a:cxn>
                <a:cxn ang="0">
                  <a:pos x="20" y="3"/>
                </a:cxn>
                <a:cxn ang="0">
                  <a:pos x="6" y="1"/>
                </a:cxn>
                <a:cxn ang="0">
                  <a:pos x="0" y="0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214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/>
              <a:ahLst/>
              <a:cxnLst>
                <a:cxn ang="0">
                  <a:pos x="6" y="24"/>
                </a:cxn>
                <a:cxn ang="0">
                  <a:pos x="6" y="0"/>
                </a:cxn>
                <a:cxn ang="0">
                  <a:pos x="4" y="1"/>
                </a:cxn>
                <a:cxn ang="0">
                  <a:pos x="1" y="3"/>
                </a:cxn>
                <a:cxn ang="0">
                  <a:pos x="0" y="7"/>
                </a:cxn>
                <a:cxn ang="0">
                  <a:pos x="0" y="12"/>
                </a:cxn>
                <a:cxn ang="0">
                  <a:pos x="0" y="16"/>
                </a:cxn>
                <a:cxn ang="0">
                  <a:pos x="1" y="20"/>
                </a:cxn>
                <a:cxn ang="0">
                  <a:pos x="4" y="23"/>
                </a:cxn>
                <a:cxn ang="0">
                  <a:pos x="6" y="24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215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7" y="12"/>
                </a:cxn>
                <a:cxn ang="0">
                  <a:pos x="14" y="0"/>
                </a:cxn>
                <a:cxn ang="0">
                  <a:pos x="0" y="12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216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/>
              <a:ahLst/>
              <a:cxnLst>
                <a:cxn ang="0">
                  <a:pos x="9" y="208"/>
                </a:cxn>
                <a:cxn ang="0">
                  <a:pos x="50" y="266"/>
                </a:cxn>
                <a:cxn ang="0">
                  <a:pos x="121" y="294"/>
                </a:cxn>
                <a:cxn ang="0">
                  <a:pos x="166" y="316"/>
                </a:cxn>
                <a:cxn ang="0">
                  <a:pos x="198" y="346"/>
                </a:cxn>
                <a:cxn ang="0">
                  <a:pos x="296" y="379"/>
                </a:cxn>
                <a:cxn ang="0">
                  <a:pos x="286" y="420"/>
                </a:cxn>
                <a:cxn ang="0">
                  <a:pos x="311" y="513"/>
                </a:cxn>
                <a:cxn ang="0">
                  <a:pos x="303" y="535"/>
                </a:cxn>
                <a:cxn ang="0">
                  <a:pos x="302" y="566"/>
                </a:cxn>
                <a:cxn ang="0">
                  <a:pos x="328" y="617"/>
                </a:cxn>
                <a:cxn ang="0">
                  <a:pos x="371" y="659"/>
                </a:cxn>
                <a:cxn ang="0">
                  <a:pos x="415" y="671"/>
                </a:cxn>
                <a:cxn ang="0">
                  <a:pos x="465" y="653"/>
                </a:cxn>
                <a:cxn ang="0">
                  <a:pos x="507" y="619"/>
                </a:cxn>
                <a:cxn ang="0">
                  <a:pos x="524" y="586"/>
                </a:cxn>
                <a:cxn ang="0">
                  <a:pos x="477" y="469"/>
                </a:cxn>
                <a:cxn ang="0">
                  <a:pos x="577" y="500"/>
                </a:cxn>
                <a:cxn ang="0">
                  <a:pos x="600" y="477"/>
                </a:cxn>
                <a:cxn ang="0">
                  <a:pos x="652" y="445"/>
                </a:cxn>
                <a:cxn ang="0">
                  <a:pos x="669" y="441"/>
                </a:cxn>
                <a:cxn ang="0">
                  <a:pos x="685" y="435"/>
                </a:cxn>
                <a:cxn ang="0">
                  <a:pos x="666" y="327"/>
                </a:cxn>
                <a:cxn ang="0">
                  <a:pos x="709" y="294"/>
                </a:cxn>
                <a:cxn ang="0">
                  <a:pos x="714" y="253"/>
                </a:cxn>
                <a:cxn ang="0">
                  <a:pos x="726" y="235"/>
                </a:cxn>
                <a:cxn ang="0">
                  <a:pos x="728" y="213"/>
                </a:cxn>
                <a:cxn ang="0">
                  <a:pos x="700" y="196"/>
                </a:cxn>
                <a:cxn ang="0">
                  <a:pos x="686" y="168"/>
                </a:cxn>
                <a:cxn ang="0">
                  <a:pos x="670" y="145"/>
                </a:cxn>
                <a:cxn ang="0">
                  <a:pos x="639" y="152"/>
                </a:cxn>
                <a:cxn ang="0">
                  <a:pos x="630" y="134"/>
                </a:cxn>
                <a:cxn ang="0">
                  <a:pos x="602" y="115"/>
                </a:cxn>
                <a:cxn ang="0">
                  <a:pos x="584" y="97"/>
                </a:cxn>
                <a:cxn ang="0">
                  <a:pos x="536" y="75"/>
                </a:cxn>
                <a:cxn ang="0">
                  <a:pos x="490" y="87"/>
                </a:cxn>
                <a:cxn ang="0">
                  <a:pos x="472" y="101"/>
                </a:cxn>
                <a:cxn ang="0">
                  <a:pos x="434" y="116"/>
                </a:cxn>
                <a:cxn ang="0">
                  <a:pos x="418" y="104"/>
                </a:cxn>
                <a:cxn ang="0">
                  <a:pos x="393" y="102"/>
                </a:cxn>
                <a:cxn ang="0">
                  <a:pos x="359" y="83"/>
                </a:cxn>
                <a:cxn ang="0">
                  <a:pos x="317" y="85"/>
                </a:cxn>
                <a:cxn ang="0">
                  <a:pos x="291" y="92"/>
                </a:cxn>
                <a:cxn ang="0">
                  <a:pos x="252" y="93"/>
                </a:cxn>
                <a:cxn ang="0">
                  <a:pos x="233" y="52"/>
                </a:cxn>
                <a:cxn ang="0">
                  <a:pos x="179" y="22"/>
                </a:cxn>
                <a:cxn ang="0">
                  <a:pos x="148" y="10"/>
                </a:cxn>
                <a:cxn ang="0">
                  <a:pos x="136" y="46"/>
                </a:cxn>
                <a:cxn ang="0">
                  <a:pos x="119" y="69"/>
                </a:cxn>
                <a:cxn ang="0">
                  <a:pos x="119" y="137"/>
                </a:cxn>
                <a:cxn ang="0">
                  <a:pos x="104" y="194"/>
                </a:cxn>
                <a:cxn ang="0">
                  <a:pos x="87" y="190"/>
                </a:cxn>
                <a:cxn ang="0">
                  <a:pos x="70" y="184"/>
                </a:cxn>
                <a:cxn ang="0">
                  <a:pos x="57" y="169"/>
                </a:cxn>
                <a:cxn ang="0">
                  <a:pos x="52" y="119"/>
                </a:cxn>
                <a:cxn ang="0">
                  <a:pos x="73" y="61"/>
                </a:cxn>
                <a:cxn ang="0">
                  <a:pos x="97" y="15"/>
                </a:cxn>
                <a:cxn ang="0">
                  <a:pos x="52" y="30"/>
                </a:cxn>
                <a:cxn ang="0">
                  <a:pos x="16" y="70"/>
                </a:cxn>
                <a:cxn ang="0">
                  <a:pos x="1" y="120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2217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8739188" y="4786313"/>
            <a:ext cx="31750" cy="11112"/>
          </a:xfrm>
          <a:custGeom>
            <a:avLst/>
            <a:gdLst/>
            <a:ahLst/>
            <a:cxnLst>
              <a:cxn ang="0">
                <a:pos x="0" y="23"/>
              </a:cxn>
              <a:cxn ang="0">
                <a:pos x="22" y="13"/>
              </a:cxn>
              <a:cxn ang="0">
                <a:pos x="45" y="4"/>
              </a:cxn>
              <a:cxn ang="0">
                <a:pos x="56" y="1"/>
              </a:cxn>
              <a:cxn ang="0">
                <a:pos x="65" y="0"/>
              </a:cxn>
              <a:cxn ang="0">
                <a:pos x="69" y="0"/>
              </a:cxn>
              <a:cxn ang="0">
                <a:pos x="74" y="1"/>
              </a:cxn>
              <a:cxn ang="0">
                <a:pos x="77" y="2"/>
              </a:cxn>
              <a:cxn ang="0">
                <a:pos x="79" y="4"/>
              </a:cxn>
              <a:cxn ang="0">
                <a:pos x="77" y="8"/>
              </a:cxn>
              <a:cxn ang="0">
                <a:pos x="75" y="13"/>
              </a:cxn>
              <a:cxn ang="0">
                <a:pos x="72" y="16"/>
              </a:cxn>
              <a:cxn ang="0">
                <a:pos x="68" y="19"/>
              </a:cxn>
              <a:cxn ang="0">
                <a:pos x="64" y="21"/>
              </a:cxn>
              <a:cxn ang="0">
                <a:pos x="59" y="22"/>
              </a:cxn>
              <a:cxn ang="0">
                <a:pos x="53" y="23"/>
              </a:cxn>
              <a:cxn ang="0">
                <a:pos x="46" y="23"/>
              </a:cxn>
              <a:cxn ang="0">
                <a:pos x="37" y="23"/>
              </a:cxn>
              <a:cxn ang="0">
                <a:pos x="32" y="21"/>
              </a:cxn>
              <a:cxn ang="0">
                <a:pos x="26" y="20"/>
              </a:cxn>
              <a:cxn ang="0">
                <a:pos x="23" y="19"/>
              </a:cxn>
              <a:cxn ang="0">
                <a:pos x="19" y="18"/>
              </a:cxn>
              <a:cxn ang="0">
                <a:pos x="14" y="18"/>
              </a:cxn>
              <a:cxn ang="0">
                <a:pos x="9" y="20"/>
              </a:cxn>
              <a:cxn ang="0">
                <a:pos x="0" y="23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18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8855075" y="4919663"/>
            <a:ext cx="1588" cy="476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"/>
              </a:cxn>
              <a:cxn ang="0">
                <a:pos x="0" y="0"/>
              </a:cxn>
            </a:cxnLst>
            <a:rect l="0" t="0" r="r" b="b"/>
            <a:pathLst>
              <a:path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19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8945564" y="491807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20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8945564" y="4918076"/>
            <a:ext cx="3175" cy="158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1"/>
              </a:cxn>
              <a:cxn ang="0">
                <a:pos x="4" y="4"/>
              </a:cxn>
              <a:cxn ang="0">
                <a:pos x="5" y="8"/>
              </a:cxn>
              <a:cxn ang="0">
                <a:pos x="5" y="13"/>
              </a:cxn>
              <a:cxn ang="0">
                <a:pos x="5" y="18"/>
              </a:cxn>
              <a:cxn ang="0">
                <a:pos x="4" y="23"/>
              </a:cxn>
              <a:cxn ang="0">
                <a:pos x="2" y="27"/>
              </a:cxn>
              <a:cxn ang="0">
                <a:pos x="0" y="30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21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9244014" y="4387851"/>
            <a:ext cx="22225" cy="28575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1" y="17"/>
              </a:cxn>
              <a:cxn ang="0">
                <a:pos x="5" y="22"/>
              </a:cxn>
              <a:cxn ang="0">
                <a:pos x="9" y="27"/>
              </a:cxn>
              <a:cxn ang="0">
                <a:pos x="15" y="33"/>
              </a:cxn>
              <a:cxn ang="0">
                <a:pos x="26" y="44"/>
              </a:cxn>
              <a:cxn ang="0">
                <a:pos x="33" y="55"/>
              </a:cxn>
              <a:cxn ang="0">
                <a:pos x="53" y="55"/>
              </a:cxn>
              <a:cxn ang="0">
                <a:pos x="40" y="41"/>
              </a:cxn>
              <a:cxn ang="0">
                <a:pos x="28" y="29"/>
              </a:cxn>
              <a:cxn ang="0">
                <a:pos x="23" y="23"/>
              </a:cxn>
              <a:cxn ang="0">
                <a:pos x="19" y="16"/>
              </a:cxn>
              <a:cxn ang="0">
                <a:pos x="16" y="8"/>
              </a:cxn>
              <a:cxn ang="0">
                <a:pos x="14" y="0"/>
              </a:cxn>
              <a:cxn ang="0">
                <a:pos x="7" y="6"/>
              </a:cxn>
              <a:cxn ang="0">
                <a:pos x="0" y="12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22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9250364" y="4314825"/>
            <a:ext cx="26987" cy="39688"/>
          </a:xfrm>
          <a:custGeom>
            <a:avLst/>
            <a:gdLst/>
            <a:ahLst/>
            <a:cxnLst>
              <a:cxn ang="0">
                <a:pos x="0" y="32"/>
              </a:cxn>
              <a:cxn ang="0">
                <a:pos x="9" y="43"/>
              </a:cxn>
              <a:cxn ang="0">
                <a:pos x="20" y="55"/>
              </a:cxn>
              <a:cxn ang="0">
                <a:pos x="26" y="61"/>
              </a:cxn>
              <a:cxn ang="0">
                <a:pos x="32" y="67"/>
              </a:cxn>
              <a:cxn ang="0">
                <a:pos x="39" y="71"/>
              </a:cxn>
              <a:cxn ang="0">
                <a:pos x="46" y="75"/>
              </a:cxn>
              <a:cxn ang="0">
                <a:pos x="51" y="61"/>
              </a:cxn>
              <a:cxn ang="0">
                <a:pos x="58" y="48"/>
              </a:cxn>
              <a:cxn ang="0">
                <a:pos x="61" y="42"/>
              </a:cxn>
              <a:cxn ang="0">
                <a:pos x="63" y="36"/>
              </a:cxn>
              <a:cxn ang="0">
                <a:pos x="65" y="31"/>
              </a:cxn>
              <a:cxn ang="0">
                <a:pos x="65" y="26"/>
              </a:cxn>
              <a:cxn ang="0">
                <a:pos x="65" y="21"/>
              </a:cxn>
              <a:cxn ang="0">
                <a:pos x="63" y="18"/>
              </a:cxn>
              <a:cxn ang="0">
                <a:pos x="61" y="13"/>
              </a:cxn>
              <a:cxn ang="0">
                <a:pos x="58" y="10"/>
              </a:cxn>
              <a:cxn ang="0">
                <a:pos x="51" y="5"/>
              </a:cxn>
              <a:cxn ang="0">
                <a:pos x="46" y="0"/>
              </a:cxn>
              <a:cxn ang="0">
                <a:pos x="34" y="0"/>
              </a:cxn>
              <a:cxn ang="0">
                <a:pos x="26" y="0"/>
              </a:cxn>
              <a:cxn ang="0">
                <a:pos x="25" y="2"/>
              </a:cxn>
              <a:cxn ang="0">
                <a:pos x="24" y="7"/>
              </a:cxn>
              <a:cxn ang="0">
                <a:pos x="23" y="9"/>
              </a:cxn>
              <a:cxn ang="0">
                <a:pos x="23" y="11"/>
              </a:cxn>
              <a:cxn ang="0">
                <a:pos x="24" y="12"/>
              </a:cxn>
              <a:cxn ang="0">
                <a:pos x="26" y="1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23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9226551" y="4291013"/>
            <a:ext cx="17463" cy="30162"/>
          </a:xfrm>
          <a:custGeom>
            <a:avLst/>
            <a:gdLst/>
            <a:ahLst/>
            <a:cxnLst>
              <a:cxn ang="0">
                <a:pos x="0" y="62"/>
              </a:cxn>
              <a:cxn ang="0">
                <a:pos x="3" y="52"/>
              </a:cxn>
              <a:cxn ang="0">
                <a:pos x="7" y="43"/>
              </a:cxn>
              <a:cxn ang="0">
                <a:pos x="12" y="33"/>
              </a:cxn>
              <a:cxn ang="0">
                <a:pos x="17" y="25"/>
              </a:cxn>
              <a:cxn ang="0">
                <a:pos x="23" y="17"/>
              </a:cxn>
              <a:cxn ang="0">
                <a:pos x="29" y="9"/>
              </a:cxn>
              <a:cxn ang="0">
                <a:pos x="35" y="3"/>
              </a:cxn>
              <a:cxn ang="0">
                <a:pos x="40" y="0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24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9145588" y="4168776"/>
            <a:ext cx="68262" cy="138113"/>
          </a:xfrm>
          <a:custGeom>
            <a:avLst/>
            <a:gdLst/>
            <a:ahLst/>
            <a:cxnLst>
              <a:cxn ang="0">
                <a:pos x="159" y="259"/>
              </a:cxn>
              <a:cxn ang="0">
                <a:pos x="159" y="251"/>
              </a:cxn>
              <a:cxn ang="0">
                <a:pos x="159" y="244"/>
              </a:cxn>
              <a:cxn ang="0">
                <a:pos x="159" y="236"/>
              </a:cxn>
              <a:cxn ang="0">
                <a:pos x="159" y="228"/>
              </a:cxn>
              <a:cxn ang="0">
                <a:pos x="159" y="224"/>
              </a:cxn>
              <a:cxn ang="0">
                <a:pos x="158" y="219"/>
              </a:cxn>
              <a:cxn ang="0">
                <a:pos x="156" y="215"/>
              </a:cxn>
              <a:cxn ang="0">
                <a:pos x="153" y="210"/>
              </a:cxn>
              <a:cxn ang="0">
                <a:pos x="145" y="202"/>
              </a:cxn>
              <a:cxn ang="0">
                <a:pos x="135" y="195"/>
              </a:cxn>
              <a:cxn ang="0">
                <a:pos x="124" y="189"/>
              </a:cxn>
              <a:cxn ang="0">
                <a:pos x="112" y="184"/>
              </a:cxn>
              <a:cxn ang="0">
                <a:pos x="99" y="180"/>
              </a:cxn>
              <a:cxn ang="0">
                <a:pos x="87" y="179"/>
              </a:cxn>
              <a:cxn ang="0">
                <a:pos x="85" y="178"/>
              </a:cxn>
              <a:cxn ang="0">
                <a:pos x="82" y="177"/>
              </a:cxn>
              <a:cxn ang="0">
                <a:pos x="81" y="175"/>
              </a:cxn>
              <a:cxn ang="0">
                <a:pos x="80" y="173"/>
              </a:cxn>
              <a:cxn ang="0">
                <a:pos x="80" y="167"/>
              </a:cxn>
              <a:cxn ang="0">
                <a:pos x="81" y="161"/>
              </a:cxn>
              <a:cxn ang="0">
                <a:pos x="85" y="148"/>
              </a:cxn>
              <a:cxn ang="0">
                <a:pos x="87" y="142"/>
              </a:cxn>
              <a:cxn ang="0">
                <a:pos x="73" y="141"/>
              </a:cxn>
              <a:cxn ang="0">
                <a:pos x="59" y="139"/>
              </a:cxn>
              <a:cxn ang="0">
                <a:pos x="48" y="135"/>
              </a:cxn>
              <a:cxn ang="0">
                <a:pos x="40" y="129"/>
              </a:cxn>
              <a:cxn ang="0">
                <a:pos x="31" y="121"/>
              </a:cxn>
              <a:cxn ang="0">
                <a:pos x="24" y="113"/>
              </a:cxn>
              <a:cxn ang="0">
                <a:pos x="18" y="104"/>
              </a:cxn>
              <a:cxn ang="0">
                <a:pos x="13" y="94"/>
              </a:cxn>
              <a:cxn ang="0">
                <a:pos x="9" y="84"/>
              </a:cxn>
              <a:cxn ang="0">
                <a:pos x="7" y="73"/>
              </a:cxn>
              <a:cxn ang="0">
                <a:pos x="5" y="60"/>
              </a:cxn>
              <a:cxn ang="0">
                <a:pos x="2" y="48"/>
              </a:cxn>
              <a:cxn ang="0">
                <a:pos x="0" y="25"/>
              </a:cxn>
              <a:cxn ang="0">
                <a:pos x="0" y="0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25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9139238" y="4135439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26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9139238" y="4119564"/>
            <a:ext cx="6350" cy="15875"/>
          </a:xfrm>
          <a:custGeom>
            <a:avLst/>
            <a:gdLst/>
            <a:ahLst/>
            <a:cxnLst>
              <a:cxn ang="0">
                <a:pos x="0" y="25"/>
              </a:cxn>
              <a:cxn ang="0">
                <a:pos x="1" y="19"/>
              </a:cxn>
              <a:cxn ang="0">
                <a:pos x="4" y="13"/>
              </a:cxn>
              <a:cxn ang="0">
                <a:pos x="8" y="6"/>
              </a:cxn>
              <a:cxn ang="0">
                <a:pos x="13" y="0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27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9145588" y="410686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28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9099550" y="4040189"/>
            <a:ext cx="46038" cy="66675"/>
          </a:xfrm>
          <a:custGeom>
            <a:avLst/>
            <a:gdLst/>
            <a:ahLst/>
            <a:cxnLst>
              <a:cxn ang="0">
                <a:pos x="100" y="123"/>
              </a:cxn>
              <a:cxn ang="0">
                <a:pos x="90" y="122"/>
              </a:cxn>
              <a:cxn ang="0">
                <a:pos x="76" y="119"/>
              </a:cxn>
              <a:cxn ang="0">
                <a:pos x="60" y="114"/>
              </a:cxn>
              <a:cxn ang="0">
                <a:pos x="43" y="107"/>
              </a:cxn>
              <a:cxn ang="0">
                <a:pos x="34" y="103"/>
              </a:cxn>
              <a:cxn ang="0">
                <a:pos x="27" y="99"/>
              </a:cxn>
              <a:cxn ang="0">
                <a:pos x="20" y="94"/>
              </a:cxn>
              <a:cxn ang="0">
                <a:pos x="13" y="89"/>
              </a:cxn>
              <a:cxn ang="0">
                <a:pos x="8" y="84"/>
              </a:cxn>
              <a:cxn ang="0">
                <a:pos x="4" y="79"/>
              </a:cxn>
              <a:cxn ang="0">
                <a:pos x="1" y="73"/>
              </a:cxn>
              <a:cxn ang="0">
                <a:pos x="0" y="68"/>
              </a:cxn>
              <a:cxn ang="0">
                <a:pos x="2" y="55"/>
              </a:cxn>
              <a:cxn ang="0">
                <a:pos x="7" y="36"/>
              </a:cxn>
              <a:cxn ang="0">
                <a:pos x="11" y="17"/>
              </a:cxn>
              <a:cxn ang="0">
                <a:pos x="13" y="0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29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9113839" y="3983038"/>
            <a:ext cx="1587" cy="50800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4" y="34"/>
              </a:cxn>
              <a:cxn ang="0">
                <a:pos x="1" y="59"/>
              </a:cxn>
              <a:cxn ang="0">
                <a:pos x="0" y="69"/>
              </a:cxn>
              <a:cxn ang="0">
                <a:pos x="0" y="78"/>
              </a:cxn>
              <a:cxn ang="0">
                <a:pos x="2" y="87"/>
              </a:cxn>
              <a:cxn ang="0">
                <a:pos x="5" y="99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30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9120189" y="3976688"/>
            <a:ext cx="7937" cy="36512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8" y="16"/>
              </a:cxn>
              <a:cxn ang="0">
                <a:pos x="4" y="33"/>
              </a:cxn>
              <a:cxn ang="0">
                <a:pos x="2" y="52"/>
              </a:cxn>
              <a:cxn ang="0">
                <a:pos x="0" y="68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31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9136064" y="3957639"/>
            <a:ext cx="1587" cy="222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3"/>
              </a:cxn>
              <a:cxn ang="0">
                <a:pos x="0" y="26"/>
              </a:cxn>
              <a:cxn ang="0">
                <a:pos x="0" y="37"/>
              </a:cxn>
              <a:cxn ang="0">
                <a:pos x="0" y="43"/>
              </a:cxn>
            </a:cxnLst>
            <a:rect l="0" t="0" r="r" b="b"/>
            <a:pathLst>
              <a:path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32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9136064" y="3976689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33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9120189" y="3960814"/>
            <a:ext cx="1587" cy="15875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22"/>
              </a:cxn>
              <a:cxn ang="0">
                <a:pos x="0" y="15"/>
              </a:cxn>
              <a:cxn ang="0">
                <a:pos x="0" y="8"/>
              </a:cxn>
              <a:cxn ang="0">
                <a:pos x="0" y="0"/>
              </a:cxn>
            </a:cxnLst>
            <a:rect l="0" t="0" r="r" b="b"/>
            <a:pathLst>
              <a:path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34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8840789" y="4949826"/>
            <a:ext cx="96837" cy="87313"/>
          </a:xfrm>
          <a:custGeom>
            <a:avLst/>
            <a:gdLst/>
            <a:ahLst/>
            <a:cxnLst>
              <a:cxn ang="0">
                <a:pos x="19" y="158"/>
              </a:cxn>
              <a:cxn ang="0">
                <a:pos x="7" y="142"/>
              </a:cxn>
              <a:cxn ang="0">
                <a:pos x="0" y="130"/>
              </a:cxn>
              <a:cxn ang="0">
                <a:pos x="1" y="108"/>
              </a:cxn>
              <a:cxn ang="0">
                <a:pos x="11" y="68"/>
              </a:cxn>
              <a:cxn ang="0">
                <a:pos x="24" y="39"/>
              </a:cxn>
              <a:cxn ang="0">
                <a:pos x="34" y="21"/>
              </a:cxn>
              <a:cxn ang="0">
                <a:pos x="44" y="9"/>
              </a:cxn>
              <a:cxn ang="0">
                <a:pos x="54" y="1"/>
              </a:cxn>
              <a:cxn ang="0">
                <a:pos x="65" y="1"/>
              </a:cxn>
              <a:cxn ang="0">
                <a:pos x="76" y="3"/>
              </a:cxn>
              <a:cxn ang="0">
                <a:pos x="88" y="8"/>
              </a:cxn>
              <a:cxn ang="0">
                <a:pos x="100" y="17"/>
              </a:cxn>
              <a:cxn ang="0">
                <a:pos x="112" y="24"/>
              </a:cxn>
              <a:cxn ang="0">
                <a:pos x="128" y="24"/>
              </a:cxn>
              <a:cxn ang="0">
                <a:pos x="145" y="19"/>
              </a:cxn>
              <a:cxn ang="0">
                <a:pos x="165" y="7"/>
              </a:cxn>
              <a:cxn ang="0">
                <a:pos x="225" y="0"/>
              </a:cxn>
              <a:cxn ang="0">
                <a:pos x="215" y="22"/>
              </a:cxn>
              <a:cxn ang="0">
                <a:pos x="201" y="41"/>
              </a:cxn>
              <a:cxn ang="0">
                <a:pos x="168" y="72"/>
              </a:cxn>
              <a:cxn ang="0">
                <a:pos x="138" y="100"/>
              </a:cxn>
              <a:cxn ang="0">
                <a:pos x="129" y="114"/>
              </a:cxn>
              <a:cxn ang="0">
                <a:pos x="126" y="130"/>
              </a:cxn>
              <a:cxn ang="0">
                <a:pos x="123" y="126"/>
              </a:cxn>
              <a:cxn ang="0">
                <a:pos x="120" y="117"/>
              </a:cxn>
              <a:cxn ang="0">
                <a:pos x="106" y="121"/>
              </a:cxn>
              <a:cxn ang="0">
                <a:pos x="97" y="128"/>
              </a:cxn>
              <a:cxn ang="0">
                <a:pos x="80" y="145"/>
              </a:cxn>
              <a:cxn ang="0">
                <a:pos x="71" y="153"/>
              </a:cxn>
              <a:cxn ang="0">
                <a:pos x="60" y="160"/>
              </a:cxn>
              <a:cxn ang="0">
                <a:pos x="46" y="165"/>
              </a:cxn>
              <a:cxn ang="0">
                <a:pos x="26" y="167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35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8978901" y="4168776"/>
            <a:ext cx="3175" cy="17463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5" y="22"/>
              </a:cxn>
              <a:cxn ang="0">
                <a:pos x="6" y="13"/>
              </a:cxn>
              <a:cxn ang="0">
                <a:pos x="7" y="6"/>
              </a:cxn>
              <a:cxn ang="0">
                <a:pos x="7" y="0"/>
              </a:cxn>
              <a:cxn ang="0">
                <a:pos x="6" y="6"/>
              </a:cxn>
              <a:cxn ang="0">
                <a:pos x="4" y="13"/>
              </a:cxn>
              <a:cxn ang="0">
                <a:pos x="1" y="22"/>
              </a:cxn>
              <a:cxn ang="0">
                <a:pos x="0" y="31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36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8912226" y="4090989"/>
            <a:ext cx="15875" cy="15875"/>
          </a:xfrm>
          <a:custGeom>
            <a:avLst/>
            <a:gdLst/>
            <a:ahLst/>
            <a:cxnLst>
              <a:cxn ang="0">
                <a:pos x="33" y="31"/>
              </a:cxn>
              <a:cxn ang="0">
                <a:pos x="33" y="0"/>
              </a:cxn>
              <a:cxn ang="0">
                <a:pos x="27" y="0"/>
              </a:cxn>
              <a:cxn ang="0">
                <a:pos x="22" y="2"/>
              </a:cxn>
              <a:cxn ang="0">
                <a:pos x="16" y="5"/>
              </a:cxn>
              <a:cxn ang="0">
                <a:pos x="11" y="8"/>
              </a:cxn>
              <a:cxn ang="0">
                <a:pos x="6" y="12"/>
              </a:cxn>
              <a:cxn ang="0">
                <a:pos x="3" y="16"/>
              </a:cxn>
              <a:cxn ang="0">
                <a:pos x="1" y="21"/>
              </a:cxn>
              <a:cxn ang="0">
                <a:pos x="0" y="25"/>
              </a:cxn>
              <a:cxn ang="0">
                <a:pos x="1" y="27"/>
              </a:cxn>
              <a:cxn ang="0">
                <a:pos x="3" y="29"/>
              </a:cxn>
              <a:cxn ang="0">
                <a:pos x="6" y="30"/>
              </a:cxn>
              <a:cxn ang="0">
                <a:pos x="11" y="30"/>
              </a:cxn>
              <a:cxn ang="0">
                <a:pos x="22" y="31"/>
              </a:cxn>
              <a:cxn ang="0">
                <a:pos x="33" y="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37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8928101" y="4003676"/>
            <a:ext cx="3175" cy="9525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2" y="18"/>
              </a:cxn>
              <a:cxn ang="0">
                <a:pos x="5" y="17"/>
              </a:cxn>
              <a:cxn ang="0">
                <a:pos x="7" y="15"/>
              </a:cxn>
              <a:cxn ang="0">
                <a:pos x="8" y="12"/>
              </a:cxn>
              <a:cxn ang="0">
                <a:pos x="12" y="6"/>
              </a:cxn>
              <a:cxn ang="0">
                <a:pos x="13" y="0"/>
              </a:cxn>
              <a:cxn ang="0">
                <a:pos x="0" y="19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38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8767763" y="4006851"/>
            <a:ext cx="36512" cy="22225"/>
          </a:xfrm>
          <a:custGeom>
            <a:avLst/>
            <a:gdLst/>
            <a:ahLst/>
            <a:cxnLst>
              <a:cxn ang="0">
                <a:pos x="54" y="42"/>
              </a:cxn>
              <a:cxn ang="0">
                <a:pos x="59" y="42"/>
              </a:cxn>
              <a:cxn ang="0">
                <a:pos x="64" y="41"/>
              </a:cxn>
              <a:cxn ang="0">
                <a:pos x="68" y="40"/>
              </a:cxn>
              <a:cxn ang="0">
                <a:pos x="71" y="38"/>
              </a:cxn>
              <a:cxn ang="0">
                <a:pos x="75" y="34"/>
              </a:cxn>
              <a:cxn ang="0">
                <a:pos x="78" y="28"/>
              </a:cxn>
              <a:cxn ang="0">
                <a:pos x="79" y="22"/>
              </a:cxn>
              <a:cxn ang="0">
                <a:pos x="80" y="16"/>
              </a:cxn>
              <a:cxn ang="0">
                <a:pos x="82" y="11"/>
              </a:cxn>
              <a:cxn ang="0">
                <a:pos x="87" y="6"/>
              </a:cxn>
              <a:cxn ang="0">
                <a:pos x="77" y="2"/>
              </a:cxn>
              <a:cxn ang="0">
                <a:pos x="67" y="0"/>
              </a:cxn>
              <a:cxn ang="0">
                <a:pos x="57" y="0"/>
              </a:cxn>
              <a:cxn ang="0">
                <a:pos x="47" y="0"/>
              </a:cxn>
              <a:cxn ang="0">
                <a:pos x="40" y="0"/>
              </a:cxn>
              <a:cxn ang="0">
                <a:pos x="32" y="2"/>
              </a:cxn>
              <a:cxn ang="0">
                <a:pos x="25" y="4"/>
              </a:cxn>
              <a:cxn ang="0">
                <a:pos x="19" y="6"/>
              </a:cxn>
              <a:cxn ang="0">
                <a:pos x="8" y="12"/>
              </a:cxn>
              <a:cxn ang="0">
                <a:pos x="0" y="18"/>
              </a:cxn>
              <a:cxn ang="0">
                <a:pos x="11" y="24"/>
              </a:cxn>
              <a:cxn ang="0">
                <a:pos x="27" y="32"/>
              </a:cxn>
              <a:cxn ang="0">
                <a:pos x="43" y="39"/>
              </a:cxn>
              <a:cxn ang="0">
                <a:pos x="54" y="42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39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9012239" y="4470400"/>
            <a:ext cx="1587" cy="142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0"/>
              </a:cxn>
              <a:cxn ang="0">
                <a:pos x="7" y="18"/>
              </a:cxn>
              <a:cxn ang="0">
                <a:pos x="0" y="31"/>
              </a:cxn>
              <a:cxn ang="0">
                <a:pos x="0" y="0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40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8248651" y="3976688"/>
            <a:ext cx="1019175" cy="908050"/>
          </a:xfrm>
          <a:custGeom>
            <a:avLst/>
            <a:gdLst/>
            <a:ahLst/>
            <a:cxnLst>
              <a:cxn ang="0">
                <a:pos x="214" y="707"/>
              </a:cxn>
              <a:cxn ang="0">
                <a:pos x="325" y="649"/>
              </a:cxn>
              <a:cxn ang="0">
                <a:pos x="435" y="606"/>
              </a:cxn>
              <a:cxn ang="0">
                <a:pos x="605" y="570"/>
              </a:cxn>
              <a:cxn ang="0">
                <a:pos x="677" y="437"/>
              </a:cxn>
              <a:cxn ang="0">
                <a:pos x="758" y="439"/>
              </a:cxn>
              <a:cxn ang="0">
                <a:pos x="784" y="363"/>
              </a:cxn>
              <a:cxn ang="0">
                <a:pos x="866" y="316"/>
              </a:cxn>
              <a:cxn ang="0">
                <a:pos x="939" y="246"/>
              </a:cxn>
              <a:cxn ang="0">
                <a:pos x="1027" y="223"/>
              </a:cxn>
              <a:cxn ang="0">
                <a:pos x="1078" y="284"/>
              </a:cxn>
              <a:cxn ang="0">
                <a:pos x="1135" y="270"/>
              </a:cxn>
              <a:cxn ang="0">
                <a:pos x="1176" y="172"/>
              </a:cxn>
              <a:cxn ang="0">
                <a:pos x="1320" y="117"/>
              </a:cxn>
              <a:cxn ang="0">
                <a:pos x="1336" y="41"/>
              </a:cxn>
              <a:cxn ang="0">
                <a:pos x="1432" y="107"/>
              </a:cxn>
              <a:cxn ang="0">
                <a:pos x="1544" y="117"/>
              </a:cxn>
              <a:cxn ang="0">
                <a:pos x="1465" y="262"/>
              </a:cxn>
              <a:cxn ang="0">
                <a:pos x="1509" y="333"/>
              </a:cxn>
              <a:cxn ang="0">
                <a:pos x="1582" y="354"/>
              </a:cxn>
              <a:cxn ang="0">
                <a:pos x="1668" y="423"/>
              </a:cxn>
              <a:cxn ang="0">
                <a:pos x="1764" y="413"/>
              </a:cxn>
              <a:cxn ang="0">
                <a:pos x="1830" y="205"/>
              </a:cxn>
              <a:cxn ang="0">
                <a:pos x="1904" y="10"/>
              </a:cxn>
              <a:cxn ang="0">
                <a:pos x="1933" y="80"/>
              </a:cxn>
              <a:cxn ang="0">
                <a:pos x="1944" y="176"/>
              </a:cxn>
              <a:cxn ang="0">
                <a:pos x="1986" y="240"/>
              </a:cxn>
              <a:cxn ang="0">
                <a:pos x="2040" y="429"/>
              </a:cxn>
              <a:cxn ang="0">
                <a:pos x="2089" y="540"/>
              </a:cxn>
              <a:cxn ang="0">
                <a:pos x="2163" y="686"/>
              </a:cxn>
              <a:cxn ang="0">
                <a:pos x="2219" y="769"/>
              </a:cxn>
              <a:cxn ang="0">
                <a:pos x="2332" y="892"/>
              </a:cxn>
              <a:cxn ang="0">
                <a:pos x="2276" y="1105"/>
              </a:cxn>
              <a:cxn ang="0">
                <a:pos x="2087" y="1362"/>
              </a:cxn>
              <a:cxn ang="0">
                <a:pos x="2005" y="1432"/>
              </a:cxn>
              <a:cxn ang="0">
                <a:pos x="1838" y="1591"/>
              </a:cxn>
              <a:cxn ang="0">
                <a:pos x="1749" y="1676"/>
              </a:cxn>
              <a:cxn ang="0">
                <a:pos x="1589" y="1726"/>
              </a:cxn>
              <a:cxn ang="0">
                <a:pos x="1517" y="1693"/>
              </a:cxn>
              <a:cxn ang="0">
                <a:pos x="1410" y="1729"/>
              </a:cxn>
              <a:cxn ang="0">
                <a:pos x="1297" y="1693"/>
              </a:cxn>
              <a:cxn ang="0">
                <a:pos x="1279" y="1614"/>
              </a:cxn>
              <a:cxn ang="0">
                <a:pos x="1263" y="1516"/>
              </a:cxn>
              <a:cxn ang="0">
                <a:pos x="1225" y="1500"/>
              </a:cxn>
              <a:cxn ang="0">
                <a:pos x="1280" y="1382"/>
              </a:cxn>
              <a:cxn ang="0">
                <a:pos x="1088" y="1362"/>
              </a:cxn>
              <a:cxn ang="0">
                <a:pos x="961" y="1282"/>
              </a:cxn>
              <a:cxn ang="0">
                <a:pos x="754" y="1323"/>
              </a:cxn>
              <a:cxn ang="0">
                <a:pos x="507" y="1419"/>
              </a:cxn>
              <a:cxn ang="0">
                <a:pos x="214" y="1473"/>
              </a:cxn>
              <a:cxn ang="0">
                <a:pos x="55" y="1490"/>
              </a:cxn>
              <a:cxn ang="0">
                <a:pos x="2" y="1423"/>
              </a:cxn>
              <a:cxn ang="0">
                <a:pos x="97" y="1344"/>
              </a:cxn>
              <a:cxn ang="0">
                <a:pos x="75" y="1241"/>
              </a:cxn>
              <a:cxn ang="0">
                <a:pos x="113" y="1170"/>
              </a:cxn>
              <a:cxn ang="0">
                <a:pos x="58" y="943"/>
              </a:cxn>
              <a:cxn ang="0">
                <a:pos x="113" y="964"/>
              </a:cxn>
              <a:cxn ang="0">
                <a:pos x="106" y="862"/>
              </a:cxn>
              <a:cxn ang="0">
                <a:pos x="147" y="765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41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2735264" y="2643189"/>
            <a:ext cx="668337" cy="581025"/>
          </a:xfrm>
          <a:custGeom>
            <a:avLst/>
            <a:gdLst/>
            <a:ahLst/>
            <a:cxnLst>
              <a:cxn ang="0">
                <a:pos x="1243" y="925"/>
              </a:cxn>
              <a:cxn ang="0">
                <a:pos x="1299" y="982"/>
              </a:cxn>
              <a:cxn ang="0">
                <a:pos x="1220" y="999"/>
              </a:cxn>
              <a:cxn ang="0">
                <a:pos x="1177" y="1095"/>
              </a:cxn>
              <a:cxn ang="0">
                <a:pos x="1065" y="1006"/>
              </a:cxn>
              <a:cxn ang="0">
                <a:pos x="994" y="1012"/>
              </a:cxn>
              <a:cxn ang="0">
                <a:pos x="913" y="1039"/>
              </a:cxn>
              <a:cxn ang="0">
                <a:pos x="786" y="971"/>
              </a:cxn>
              <a:cxn ang="0">
                <a:pos x="648" y="917"/>
              </a:cxn>
              <a:cxn ang="0">
                <a:pos x="588" y="883"/>
              </a:cxn>
              <a:cxn ang="0">
                <a:pos x="537" y="835"/>
              </a:cxn>
              <a:cxn ang="0">
                <a:pos x="485" y="826"/>
              </a:cxn>
              <a:cxn ang="0">
                <a:pos x="439" y="757"/>
              </a:cxn>
              <a:cxn ang="0">
                <a:pos x="467" y="705"/>
              </a:cxn>
              <a:cxn ang="0">
                <a:pos x="450" y="601"/>
              </a:cxn>
              <a:cxn ang="0">
                <a:pos x="352" y="468"/>
              </a:cxn>
              <a:cxn ang="0">
                <a:pos x="304" y="426"/>
              </a:cxn>
              <a:cxn ang="0">
                <a:pos x="293" y="369"/>
              </a:cxn>
              <a:cxn ang="0">
                <a:pos x="217" y="248"/>
              </a:cxn>
              <a:cxn ang="0">
                <a:pos x="167" y="74"/>
              </a:cxn>
              <a:cxn ang="0">
                <a:pos x="84" y="104"/>
              </a:cxn>
              <a:cxn ang="0">
                <a:pos x="113" y="222"/>
              </a:cxn>
              <a:cxn ang="0">
                <a:pos x="150" y="326"/>
              </a:cxn>
              <a:cxn ang="0">
                <a:pos x="196" y="402"/>
              </a:cxn>
              <a:cxn ang="0">
                <a:pos x="200" y="465"/>
              </a:cxn>
              <a:cxn ang="0">
                <a:pos x="213" y="524"/>
              </a:cxn>
              <a:cxn ang="0">
                <a:pos x="259" y="571"/>
              </a:cxn>
              <a:cxn ang="0">
                <a:pos x="214" y="596"/>
              </a:cxn>
              <a:cxn ang="0">
                <a:pos x="193" y="542"/>
              </a:cxn>
              <a:cxn ang="0">
                <a:pos x="120" y="474"/>
              </a:cxn>
              <a:cxn ang="0">
                <a:pos x="146" y="420"/>
              </a:cxn>
              <a:cxn ang="0">
                <a:pos x="89" y="366"/>
              </a:cxn>
              <a:cxn ang="0">
                <a:pos x="27" y="307"/>
              </a:cxn>
              <a:cxn ang="0">
                <a:pos x="65" y="289"/>
              </a:cxn>
              <a:cxn ang="0">
                <a:pos x="64" y="225"/>
              </a:cxn>
              <a:cxn ang="0">
                <a:pos x="6" y="117"/>
              </a:cxn>
              <a:cxn ang="0">
                <a:pos x="38" y="5"/>
              </a:cxn>
              <a:cxn ang="0">
                <a:pos x="211" y="18"/>
              </a:cxn>
              <a:cxn ang="0">
                <a:pos x="361" y="76"/>
              </a:cxn>
              <a:cxn ang="0">
                <a:pos x="498" y="55"/>
              </a:cxn>
              <a:cxn ang="0">
                <a:pos x="593" y="54"/>
              </a:cxn>
              <a:cxn ang="0">
                <a:pos x="633" y="110"/>
              </a:cxn>
              <a:cxn ang="0">
                <a:pos x="700" y="215"/>
              </a:cxn>
              <a:cxn ang="0">
                <a:pos x="750" y="192"/>
              </a:cxn>
              <a:cxn ang="0">
                <a:pos x="822" y="176"/>
              </a:cxn>
              <a:cxn ang="0">
                <a:pos x="879" y="244"/>
              </a:cxn>
              <a:cxn ang="0">
                <a:pos x="905" y="362"/>
              </a:cxn>
              <a:cxn ang="0">
                <a:pos x="964" y="405"/>
              </a:cxn>
              <a:cxn ang="0">
                <a:pos x="977" y="456"/>
              </a:cxn>
              <a:cxn ang="0">
                <a:pos x="931" y="492"/>
              </a:cxn>
              <a:cxn ang="0">
                <a:pos x="917" y="634"/>
              </a:cxn>
              <a:cxn ang="0">
                <a:pos x="956" y="791"/>
              </a:cxn>
              <a:cxn ang="0">
                <a:pos x="1054" y="877"/>
              </a:cxn>
              <a:cxn ang="0">
                <a:pos x="1166" y="849"/>
              </a:cxn>
              <a:cxn ang="0">
                <a:pos x="1249" y="850"/>
              </a:cxn>
              <a:cxn ang="0">
                <a:pos x="1296" y="742"/>
              </a:cxn>
              <a:cxn ang="0">
                <a:pos x="1336" y="693"/>
              </a:cxn>
              <a:cxn ang="0">
                <a:pos x="1506" y="678"/>
              </a:cxn>
              <a:cxn ang="0">
                <a:pos x="1503" y="729"/>
              </a:cxn>
              <a:cxn ang="0">
                <a:pos x="1468" y="821"/>
              </a:cxn>
              <a:cxn ang="0">
                <a:pos x="1369" y="888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42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4010025" y="4283076"/>
            <a:ext cx="211138" cy="265113"/>
          </a:xfrm>
          <a:custGeom>
            <a:avLst/>
            <a:gdLst/>
            <a:ahLst/>
            <a:cxnLst>
              <a:cxn ang="0">
                <a:pos x="14" y="176"/>
              </a:cxn>
              <a:cxn ang="0">
                <a:pos x="31" y="198"/>
              </a:cxn>
              <a:cxn ang="0">
                <a:pos x="51" y="232"/>
              </a:cxn>
              <a:cxn ang="0">
                <a:pos x="82" y="266"/>
              </a:cxn>
              <a:cxn ang="0">
                <a:pos x="126" y="293"/>
              </a:cxn>
              <a:cxn ang="0">
                <a:pos x="170" y="310"/>
              </a:cxn>
              <a:cxn ang="0">
                <a:pos x="246" y="328"/>
              </a:cxn>
              <a:cxn ang="0">
                <a:pos x="295" y="344"/>
              </a:cxn>
              <a:cxn ang="0">
                <a:pos x="299" y="381"/>
              </a:cxn>
              <a:cxn ang="0">
                <a:pos x="277" y="418"/>
              </a:cxn>
              <a:cxn ang="0">
                <a:pos x="267" y="443"/>
              </a:cxn>
              <a:cxn ang="0">
                <a:pos x="266" y="463"/>
              </a:cxn>
              <a:cxn ang="0">
                <a:pos x="278" y="482"/>
              </a:cxn>
              <a:cxn ang="0">
                <a:pos x="299" y="494"/>
              </a:cxn>
              <a:cxn ang="0">
                <a:pos x="344" y="504"/>
              </a:cxn>
              <a:cxn ang="0">
                <a:pos x="387" y="504"/>
              </a:cxn>
              <a:cxn ang="0">
                <a:pos x="415" y="494"/>
              </a:cxn>
              <a:cxn ang="0">
                <a:pos x="446" y="474"/>
              </a:cxn>
              <a:cxn ang="0">
                <a:pos x="473" y="447"/>
              </a:cxn>
              <a:cxn ang="0">
                <a:pos x="485" y="418"/>
              </a:cxn>
              <a:cxn ang="0">
                <a:pos x="484" y="397"/>
              </a:cxn>
              <a:cxn ang="0">
                <a:pos x="478" y="358"/>
              </a:cxn>
              <a:cxn ang="0">
                <a:pos x="471" y="316"/>
              </a:cxn>
              <a:cxn ang="0">
                <a:pos x="465" y="270"/>
              </a:cxn>
              <a:cxn ang="0">
                <a:pos x="456" y="252"/>
              </a:cxn>
              <a:cxn ang="0">
                <a:pos x="439" y="239"/>
              </a:cxn>
              <a:cxn ang="0">
                <a:pos x="413" y="232"/>
              </a:cxn>
              <a:cxn ang="0">
                <a:pos x="392" y="222"/>
              </a:cxn>
              <a:cxn ang="0">
                <a:pos x="370" y="207"/>
              </a:cxn>
              <a:cxn ang="0">
                <a:pos x="330" y="188"/>
              </a:cxn>
              <a:cxn ang="0">
                <a:pos x="290" y="172"/>
              </a:cxn>
              <a:cxn ang="0">
                <a:pos x="273" y="160"/>
              </a:cxn>
              <a:cxn ang="0">
                <a:pos x="264" y="151"/>
              </a:cxn>
              <a:cxn ang="0">
                <a:pos x="261" y="125"/>
              </a:cxn>
              <a:cxn ang="0">
                <a:pos x="261" y="90"/>
              </a:cxn>
              <a:cxn ang="0">
                <a:pos x="255" y="71"/>
              </a:cxn>
              <a:cxn ang="0">
                <a:pos x="241" y="55"/>
              </a:cxn>
              <a:cxn ang="0">
                <a:pos x="234" y="37"/>
              </a:cxn>
              <a:cxn ang="0">
                <a:pos x="199" y="12"/>
              </a:cxn>
              <a:cxn ang="0">
                <a:pos x="186" y="8"/>
              </a:cxn>
              <a:cxn ang="0">
                <a:pos x="173" y="2"/>
              </a:cxn>
              <a:cxn ang="0">
                <a:pos x="139" y="1"/>
              </a:cxn>
              <a:cxn ang="0">
                <a:pos x="70" y="11"/>
              </a:cxn>
              <a:cxn ang="0">
                <a:pos x="42" y="21"/>
              </a:cxn>
              <a:cxn ang="0">
                <a:pos x="24" y="37"/>
              </a:cxn>
              <a:cxn ang="0">
                <a:pos x="20" y="64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43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4179889" y="3487739"/>
            <a:ext cx="73025" cy="109537"/>
          </a:xfrm>
          <a:custGeom>
            <a:avLst/>
            <a:gdLst/>
            <a:ahLst/>
            <a:cxnLst>
              <a:cxn ang="0">
                <a:pos x="7" y="183"/>
              </a:cxn>
              <a:cxn ang="0">
                <a:pos x="79" y="208"/>
              </a:cxn>
              <a:cxn ang="0">
                <a:pos x="85" y="207"/>
              </a:cxn>
              <a:cxn ang="0">
                <a:pos x="90" y="204"/>
              </a:cxn>
              <a:cxn ang="0">
                <a:pos x="97" y="198"/>
              </a:cxn>
              <a:cxn ang="0">
                <a:pos x="104" y="192"/>
              </a:cxn>
              <a:cxn ang="0">
                <a:pos x="117" y="176"/>
              </a:cxn>
              <a:cxn ang="0">
                <a:pos x="130" y="158"/>
              </a:cxn>
              <a:cxn ang="0">
                <a:pos x="154" y="122"/>
              </a:cxn>
              <a:cxn ang="0">
                <a:pos x="166" y="103"/>
              </a:cxn>
              <a:cxn ang="0">
                <a:pos x="144" y="94"/>
              </a:cxn>
              <a:cxn ang="0">
                <a:pos x="126" y="84"/>
              </a:cxn>
              <a:cxn ang="0">
                <a:pos x="108" y="74"/>
              </a:cxn>
              <a:cxn ang="0">
                <a:pos x="93" y="64"/>
              </a:cxn>
              <a:cxn ang="0">
                <a:pos x="86" y="58"/>
              </a:cxn>
              <a:cxn ang="0">
                <a:pos x="81" y="53"/>
              </a:cxn>
              <a:cxn ang="0">
                <a:pos x="75" y="47"/>
              </a:cxn>
              <a:cxn ang="0">
                <a:pos x="71" y="40"/>
              </a:cxn>
              <a:cxn ang="0">
                <a:pos x="67" y="33"/>
              </a:cxn>
              <a:cxn ang="0">
                <a:pos x="64" y="26"/>
              </a:cxn>
              <a:cxn ang="0">
                <a:pos x="62" y="18"/>
              </a:cxn>
              <a:cxn ang="0">
                <a:pos x="60" y="11"/>
              </a:cxn>
              <a:cxn ang="0">
                <a:pos x="50" y="10"/>
              </a:cxn>
              <a:cxn ang="0">
                <a:pos x="43" y="8"/>
              </a:cxn>
              <a:cxn ang="0">
                <a:pos x="40" y="5"/>
              </a:cxn>
              <a:cxn ang="0">
                <a:pos x="39" y="3"/>
              </a:cxn>
              <a:cxn ang="0">
                <a:pos x="38" y="1"/>
              </a:cxn>
              <a:cxn ang="0">
                <a:pos x="36" y="0"/>
              </a:cxn>
              <a:cxn ang="0">
                <a:pos x="32" y="1"/>
              </a:cxn>
              <a:cxn ang="0">
                <a:pos x="27" y="5"/>
              </a:cxn>
              <a:cxn ang="0">
                <a:pos x="20" y="11"/>
              </a:cxn>
              <a:cxn ang="0">
                <a:pos x="11" y="22"/>
              </a:cxn>
              <a:cxn ang="0">
                <a:pos x="7" y="29"/>
              </a:cxn>
              <a:cxn ang="0">
                <a:pos x="4" y="37"/>
              </a:cxn>
              <a:cxn ang="0">
                <a:pos x="2" y="45"/>
              </a:cxn>
              <a:cxn ang="0">
                <a:pos x="0" y="54"/>
              </a:cxn>
              <a:cxn ang="0">
                <a:pos x="0" y="60"/>
              </a:cxn>
              <a:cxn ang="0">
                <a:pos x="2" y="65"/>
              </a:cxn>
              <a:cxn ang="0">
                <a:pos x="3" y="70"/>
              </a:cxn>
              <a:cxn ang="0">
                <a:pos x="5" y="76"/>
              </a:cxn>
              <a:cxn ang="0">
                <a:pos x="10" y="86"/>
              </a:cxn>
              <a:cxn ang="0">
                <a:pos x="17" y="98"/>
              </a:cxn>
              <a:cxn ang="0">
                <a:pos x="22" y="109"/>
              </a:cxn>
              <a:cxn ang="0">
                <a:pos x="28" y="120"/>
              </a:cxn>
              <a:cxn ang="0">
                <a:pos x="30" y="126"/>
              </a:cxn>
              <a:cxn ang="0">
                <a:pos x="32" y="133"/>
              </a:cxn>
              <a:cxn ang="0">
                <a:pos x="33" y="139"/>
              </a:cxn>
              <a:cxn ang="0">
                <a:pos x="33" y="147"/>
              </a:cxn>
              <a:cxn ang="0">
                <a:pos x="32" y="153"/>
              </a:cxn>
              <a:cxn ang="0">
                <a:pos x="31" y="159"/>
              </a:cxn>
              <a:cxn ang="0">
                <a:pos x="28" y="165"/>
              </a:cxn>
              <a:cxn ang="0">
                <a:pos x="25" y="169"/>
              </a:cxn>
              <a:cxn ang="0">
                <a:pos x="21" y="174"/>
              </a:cxn>
              <a:cxn ang="0">
                <a:pos x="17" y="177"/>
              </a:cxn>
              <a:cxn ang="0">
                <a:pos x="11" y="180"/>
              </a:cxn>
              <a:cxn ang="0">
                <a:pos x="7" y="183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44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3694113" y="3046414"/>
            <a:ext cx="69850" cy="58737"/>
          </a:xfrm>
          <a:custGeom>
            <a:avLst/>
            <a:gdLst/>
            <a:ahLst/>
            <a:cxnLst>
              <a:cxn ang="0">
                <a:pos x="153" y="104"/>
              </a:cxn>
              <a:cxn ang="0">
                <a:pos x="134" y="102"/>
              </a:cxn>
              <a:cxn ang="0">
                <a:pos x="110" y="97"/>
              </a:cxn>
              <a:cxn ang="0">
                <a:pos x="96" y="94"/>
              </a:cxn>
              <a:cxn ang="0">
                <a:pos x="80" y="93"/>
              </a:cxn>
              <a:cxn ang="0">
                <a:pos x="73" y="93"/>
              </a:cxn>
              <a:cxn ang="0">
                <a:pos x="64" y="94"/>
              </a:cxn>
              <a:cxn ang="0">
                <a:pos x="55" y="96"/>
              </a:cxn>
              <a:cxn ang="0">
                <a:pos x="47" y="98"/>
              </a:cxn>
              <a:cxn ang="0">
                <a:pos x="41" y="100"/>
              </a:cxn>
              <a:cxn ang="0">
                <a:pos x="34" y="100"/>
              </a:cxn>
              <a:cxn ang="0">
                <a:pos x="27" y="99"/>
              </a:cxn>
              <a:cxn ang="0">
                <a:pos x="19" y="96"/>
              </a:cxn>
              <a:cxn ang="0">
                <a:pos x="11" y="92"/>
              </a:cxn>
              <a:cxn ang="0">
                <a:pos x="6" y="88"/>
              </a:cxn>
              <a:cxn ang="0">
                <a:pos x="3" y="86"/>
              </a:cxn>
              <a:cxn ang="0">
                <a:pos x="1" y="84"/>
              </a:cxn>
              <a:cxn ang="0">
                <a:pos x="0" y="81"/>
              </a:cxn>
              <a:cxn ang="0">
                <a:pos x="0" y="79"/>
              </a:cxn>
              <a:cxn ang="0">
                <a:pos x="0" y="76"/>
              </a:cxn>
              <a:cxn ang="0">
                <a:pos x="1" y="74"/>
              </a:cxn>
              <a:cxn ang="0">
                <a:pos x="3" y="71"/>
              </a:cxn>
              <a:cxn ang="0">
                <a:pos x="6" y="70"/>
              </a:cxn>
              <a:cxn ang="0">
                <a:pos x="12" y="67"/>
              </a:cxn>
              <a:cxn ang="0">
                <a:pos x="20" y="66"/>
              </a:cxn>
              <a:cxn ang="0">
                <a:pos x="40" y="66"/>
              </a:cxn>
              <a:cxn ang="0">
                <a:pos x="61" y="67"/>
              </a:cxn>
              <a:cxn ang="0">
                <a:pos x="70" y="67"/>
              </a:cxn>
              <a:cxn ang="0">
                <a:pos x="79" y="67"/>
              </a:cxn>
              <a:cxn ang="0">
                <a:pos x="87" y="67"/>
              </a:cxn>
              <a:cxn ang="0">
                <a:pos x="94" y="67"/>
              </a:cxn>
              <a:cxn ang="0">
                <a:pos x="94" y="56"/>
              </a:cxn>
              <a:cxn ang="0">
                <a:pos x="94" y="43"/>
              </a:cxn>
              <a:cxn ang="0">
                <a:pos x="94" y="29"/>
              </a:cxn>
              <a:cxn ang="0">
                <a:pos x="94" y="18"/>
              </a:cxn>
              <a:cxn ang="0">
                <a:pos x="79" y="17"/>
              </a:cxn>
              <a:cxn ang="0">
                <a:pos x="67" y="15"/>
              </a:cxn>
              <a:cxn ang="0">
                <a:pos x="62" y="13"/>
              </a:cxn>
              <a:cxn ang="0">
                <a:pos x="57" y="10"/>
              </a:cxn>
              <a:cxn ang="0">
                <a:pos x="52" y="6"/>
              </a:cxn>
              <a:cxn ang="0">
                <a:pos x="47" y="0"/>
              </a:cxn>
              <a:cxn ang="0">
                <a:pos x="146" y="0"/>
              </a:cxn>
              <a:cxn ang="0">
                <a:pos x="147" y="6"/>
              </a:cxn>
              <a:cxn ang="0">
                <a:pos x="148" y="13"/>
              </a:cxn>
              <a:cxn ang="0">
                <a:pos x="150" y="19"/>
              </a:cxn>
              <a:cxn ang="0">
                <a:pos x="152" y="25"/>
              </a:cxn>
              <a:cxn ang="0">
                <a:pos x="156" y="35"/>
              </a:cxn>
              <a:cxn ang="0">
                <a:pos x="159" y="46"/>
              </a:cxn>
              <a:cxn ang="0">
                <a:pos x="163" y="54"/>
              </a:cxn>
              <a:cxn ang="0">
                <a:pos x="164" y="62"/>
              </a:cxn>
              <a:cxn ang="0">
                <a:pos x="163" y="65"/>
              </a:cxn>
              <a:cxn ang="0">
                <a:pos x="160" y="68"/>
              </a:cxn>
              <a:cxn ang="0">
                <a:pos x="157" y="71"/>
              </a:cxn>
              <a:cxn ang="0">
                <a:pos x="153" y="73"/>
              </a:cxn>
              <a:cxn ang="0">
                <a:pos x="153" y="104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45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4060826" y="5400675"/>
            <a:ext cx="23813" cy="57150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7" y="13"/>
              </a:cxn>
              <a:cxn ang="0">
                <a:pos x="14" y="17"/>
              </a:cxn>
              <a:cxn ang="0">
                <a:pos x="22" y="19"/>
              </a:cxn>
              <a:cxn ang="0">
                <a:pos x="29" y="19"/>
              </a:cxn>
              <a:cxn ang="0">
                <a:pos x="35" y="18"/>
              </a:cxn>
              <a:cxn ang="0">
                <a:pos x="42" y="15"/>
              </a:cxn>
              <a:cxn ang="0">
                <a:pos x="47" y="12"/>
              </a:cxn>
              <a:cxn ang="0">
                <a:pos x="53" y="8"/>
              </a:cxn>
              <a:cxn ang="0">
                <a:pos x="47" y="5"/>
              </a:cxn>
              <a:cxn ang="0">
                <a:pos x="42" y="2"/>
              </a:cxn>
              <a:cxn ang="0">
                <a:pos x="35" y="1"/>
              </a:cxn>
              <a:cxn ang="0">
                <a:pos x="29" y="0"/>
              </a:cxn>
              <a:cxn ang="0">
                <a:pos x="22" y="0"/>
              </a:cxn>
              <a:cxn ang="0">
                <a:pos x="14" y="1"/>
              </a:cxn>
              <a:cxn ang="0">
                <a:pos x="7" y="3"/>
              </a:cxn>
              <a:cxn ang="0">
                <a:pos x="0" y="8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46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4025901" y="5380039"/>
            <a:ext cx="34925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6"/>
              </a:cxn>
              <a:cxn ang="0">
                <a:pos x="5" y="12"/>
              </a:cxn>
              <a:cxn ang="0">
                <a:pos x="8" y="14"/>
              </a:cxn>
              <a:cxn ang="0">
                <a:pos x="11" y="16"/>
              </a:cxn>
              <a:cxn ang="0">
                <a:pos x="15" y="18"/>
              </a:cxn>
              <a:cxn ang="0">
                <a:pos x="20" y="18"/>
              </a:cxn>
              <a:cxn ang="0">
                <a:pos x="22" y="15"/>
              </a:cxn>
              <a:cxn ang="0">
                <a:pos x="24" y="13"/>
              </a:cxn>
              <a:cxn ang="0">
                <a:pos x="26" y="11"/>
              </a:cxn>
              <a:cxn ang="0">
                <a:pos x="31" y="10"/>
              </a:cxn>
              <a:cxn ang="0">
                <a:pos x="38" y="8"/>
              </a:cxn>
              <a:cxn ang="0">
                <a:pos x="47" y="7"/>
              </a:cxn>
              <a:cxn ang="0">
                <a:pos x="57" y="7"/>
              </a:cxn>
              <a:cxn ang="0">
                <a:pos x="66" y="6"/>
              </a:cxn>
              <a:cxn ang="0">
                <a:pos x="70" y="5"/>
              </a:cxn>
              <a:cxn ang="0">
                <a:pos x="74" y="4"/>
              </a:cxn>
              <a:cxn ang="0">
                <a:pos x="77" y="2"/>
              </a:cxn>
              <a:cxn ang="0">
                <a:pos x="80" y="0"/>
              </a:cxn>
              <a:cxn ang="0">
                <a:pos x="0" y="0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47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4025901" y="5359401"/>
            <a:ext cx="22225" cy="60325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0" y="18"/>
              </a:cxn>
              <a:cxn ang="0">
                <a:pos x="9" y="22"/>
              </a:cxn>
              <a:cxn ang="0">
                <a:pos x="16" y="25"/>
              </a:cxn>
              <a:cxn ang="0">
                <a:pos x="23" y="27"/>
              </a:cxn>
              <a:cxn ang="0">
                <a:pos x="29" y="27"/>
              </a:cxn>
              <a:cxn ang="0">
                <a:pos x="33" y="27"/>
              </a:cxn>
              <a:cxn ang="0">
                <a:pos x="37" y="25"/>
              </a:cxn>
              <a:cxn ang="0">
                <a:pos x="42" y="22"/>
              </a:cxn>
              <a:cxn ang="0">
                <a:pos x="46" y="18"/>
              </a:cxn>
              <a:cxn ang="0">
                <a:pos x="41" y="16"/>
              </a:cxn>
              <a:cxn ang="0">
                <a:pos x="33" y="11"/>
              </a:cxn>
              <a:cxn ang="0">
                <a:pos x="26" y="5"/>
              </a:cxn>
              <a:cxn ang="0">
                <a:pos x="20" y="0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48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3995738" y="5353051"/>
            <a:ext cx="25400" cy="60325"/>
          </a:xfrm>
          <a:custGeom>
            <a:avLst/>
            <a:gdLst/>
            <a:ahLst/>
            <a:cxnLst>
              <a:cxn ang="0">
                <a:pos x="34" y="0"/>
              </a:cxn>
              <a:cxn ang="0">
                <a:pos x="20" y="4"/>
              </a:cxn>
              <a:cxn ang="0">
                <a:pos x="10" y="10"/>
              </a:cxn>
              <a:cxn ang="0">
                <a:pos x="6" y="13"/>
              </a:cxn>
              <a:cxn ang="0">
                <a:pos x="4" y="16"/>
              </a:cxn>
              <a:cxn ang="0">
                <a:pos x="2" y="20"/>
              </a:cxn>
              <a:cxn ang="0">
                <a:pos x="0" y="24"/>
              </a:cxn>
              <a:cxn ang="0">
                <a:pos x="2" y="28"/>
              </a:cxn>
              <a:cxn ang="0">
                <a:pos x="3" y="32"/>
              </a:cxn>
              <a:cxn ang="0">
                <a:pos x="5" y="35"/>
              </a:cxn>
              <a:cxn ang="0">
                <a:pos x="8" y="37"/>
              </a:cxn>
              <a:cxn ang="0">
                <a:pos x="11" y="38"/>
              </a:cxn>
              <a:cxn ang="0">
                <a:pos x="16" y="39"/>
              </a:cxn>
              <a:cxn ang="0">
                <a:pos x="20" y="39"/>
              </a:cxn>
              <a:cxn ang="0">
                <a:pos x="25" y="39"/>
              </a:cxn>
              <a:cxn ang="0">
                <a:pos x="30" y="38"/>
              </a:cxn>
              <a:cxn ang="0">
                <a:pos x="34" y="37"/>
              </a:cxn>
              <a:cxn ang="0">
                <a:pos x="39" y="35"/>
              </a:cxn>
              <a:cxn ang="0">
                <a:pos x="43" y="33"/>
              </a:cxn>
              <a:cxn ang="0">
                <a:pos x="47" y="30"/>
              </a:cxn>
              <a:cxn ang="0">
                <a:pos x="50" y="26"/>
              </a:cxn>
              <a:cxn ang="0">
                <a:pos x="52" y="22"/>
              </a:cxn>
              <a:cxn ang="0">
                <a:pos x="54" y="18"/>
              </a:cxn>
              <a:cxn ang="0">
                <a:pos x="51" y="17"/>
              </a:cxn>
              <a:cxn ang="0">
                <a:pos x="48" y="16"/>
              </a:cxn>
              <a:cxn ang="0">
                <a:pos x="44" y="14"/>
              </a:cxn>
              <a:cxn ang="0">
                <a:pos x="42" y="11"/>
              </a:cxn>
              <a:cxn ang="0">
                <a:pos x="39" y="8"/>
              </a:cxn>
              <a:cxn ang="0">
                <a:pos x="37" y="5"/>
              </a:cxn>
              <a:cxn ang="0">
                <a:pos x="34" y="2"/>
              </a:cxn>
              <a:cxn ang="0">
                <a:pos x="34" y="0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49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3970339" y="5343525"/>
            <a:ext cx="28575" cy="58738"/>
          </a:xfrm>
          <a:custGeom>
            <a:avLst/>
            <a:gdLst/>
            <a:ahLst/>
            <a:cxnLst>
              <a:cxn ang="0">
                <a:pos x="0" y="11"/>
              </a:cxn>
              <a:cxn ang="0">
                <a:pos x="10" y="13"/>
              </a:cxn>
              <a:cxn ang="0">
                <a:pos x="18" y="14"/>
              </a:cxn>
              <a:cxn ang="0">
                <a:pos x="27" y="15"/>
              </a:cxn>
              <a:cxn ang="0">
                <a:pos x="35" y="15"/>
              </a:cxn>
              <a:cxn ang="0">
                <a:pos x="41" y="14"/>
              </a:cxn>
              <a:cxn ang="0">
                <a:pos x="48" y="12"/>
              </a:cxn>
              <a:cxn ang="0">
                <a:pos x="55" y="9"/>
              </a:cxn>
              <a:cxn ang="0">
                <a:pos x="60" y="5"/>
              </a:cxn>
              <a:cxn ang="0">
                <a:pos x="57" y="3"/>
              </a:cxn>
              <a:cxn ang="0">
                <a:pos x="54" y="0"/>
              </a:cxn>
              <a:cxn ang="0">
                <a:pos x="51" y="0"/>
              </a:cxn>
              <a:cxn ang="0">
                <a:pos x="47" y="0"/>
              </a:cxn>
              <a:cxn ang="0">
                <a:pos x="40" y="0"/>
              </a:cxn>
              <a:cxn ang="0">
                <a:pos x="33" y="3"/>
              </a:cxn>
              <a:cxn ang="0">
                <a:pos x="24" y="6"/>
              </a:cxn>
              <a:cxn ang="0">
                <a:pos x="16" y="8"/>
              </a:cxn>
              <a:cxn ang="0">
                <a:pos x="7" y="10"/>
              </a:cxn>
              <a:cxn ang="0">
                <a:pos x="0" y="11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50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3946525" y="5330825"/>
            <a:ext cx="33338" cy="57150"/>
          </a:xfrm>
          <a:custGeom>
            <a:avLst/>
            <a:gdLst/>
            <a:ahLst/>
            <a:cxnLst>
              <a:cxn ang="0">
                <a:pos x="40" y="0"/>
              </a:cxn>
              <a:cxn ang="0">
                <a:pos x="34" y="1"/>
              </a:cxn>
              <a:cxn ang="0">
                <a:pos x="30" y="2"/>
              </a:cxn>
              <a:cxn ang="0">
                <a:pos x="25" y="4"/>
              </a:cxn>
              <a:cxn ang="0">
                <a:pos x="20" y="6"/>
              </a:cxn>
              <a:cxn ang="0">
                <a:pos x="15" y="9"/>
              </a:cxn>
              <a:cxn ang="0">
                <a:pos x="10" y="11"/>
              </a:cxn>
              <a:cxn ang="0">
                <a:pos x="5" y="12"/>
              </a:cxn>
              <a:cxn ang="0">
                <a:pos x="0" y="13"/>
              </a:cxn>
              <a:cxn ang="0">
                <a:pos x="5" y="21"/>
              </a:cxn>
              <a:cxn ang="0">
                <a:pos x="10" y="26"/>
              </a:cxn>
              <a:cxn ang="0">
                <a:pos x="12" y="29"/>
              </a:cxn>
              <a:cxn ang="0">
                <a:pos x="15" y="31"/>
              </a:cxn>
              <a:cxn ang="0">
                <a:pos x="18" y="31"/>
              </a:cxn>
              <a:cxn ang="0">
                <a:pos x="20" y="32"/>
              </a:cxn>
              <a:cxn ang="0">
                <a:pos x="27" y="31"/>
              </a:cxn>
              <a:cxn ang="0">
                <a:pos x="34" y="30"/>
              </a:cxn>
              <a:cxn ang="0">
                <a:pos x="41" y="27"/>
              </a:cxn>
              <a:cxn ang="0">
                <a:pos x="48" y="24"/>
              </a:cxn>
              <a:cxn ang="0">
                <a:pos x="62" y="18"/>
              </a:cxn>
              <a:cxn ang="0">
                <a:pos x="79" y="13"/>
              </a:cxn>
              <a:cxn ang="0">
                <a:pos x="67" y="6"/>
              </a:cxn>
              <a:cxn ang="0">
                <a:pos x="58" y="2"/>
              </a:cxn>
              <a:cxn ang="0">
                <a:pos x="49" y="1"/>
              </a:cxn>
              <a:cxn ang="0">
                <a:pos x="40" y="0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51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3940176" y="5311775"/>
            <a:ext cx="30163" cy="57150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25" y="1"/>
              </a:cxn>
              <a:cxn ang="0">
                <a:pos x="19" y="2"/>
              </a:cxn>
              <a:cxn ang="0">
                <a:pos x="13" y="4"/>
              </a:cxn>
              <a:cxn ang="0">
                <a:pos x="9" y="7"/>
              </a:cxn>
              <a:cxn ang="0">
                <a:pos x="5" y="11"/>
              </a:cxn>
              <a:cxn ang="0">
                <a:pos x="2" y="14"/>
              </a:cxn>
              <a:cxn ang="0">
                <a:pos x="0" y="17"/>
              </a:cxn>
              <a:cxn ang="0">
                <a:pos x="0" y="19"/>
              </a:cxn>
              <a:cxn ang="0">
                <a:pos x="19" y="19"/>
              </a:cxn>
              <a:cxn ang="0">
                <a:pos x="38" y="19"/>
              </a:cxn>
              <a:cxn ang="0">
                <a:pos x="46" y="18"/>
              </a:cxn>
              <a:cxn ang="0">
                <a:pos x="54" y="17"/>
              </a:cxn>
              <a:cxn ang="0">
                <a:pos x="61" y="15"/>
              </a:cxn>
              <a:cxn ang="0">
                <a:pos x="66" y="13"/>
              </a:cxn>
              <a:cxn ang="0">
                <a:pos x="57" y="8"/>
              </a:cxn>
              <a:cxn ang="0">
                <a:pos x="50" y="4"/>
              </a:cxn>
              <a:cxn ang="0">
                <a:pos x="42" y="1"/>
              </a:cxn>
              <a:cxn ang="0">
                <a:pos x="33" y="0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52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3840163" y="5002214"/>
            <a:ext cx="25400" cy="60325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8" y="5"/>
              </a:cxn>
              <a:cxn ang="0">
                <a:pos x="4" y="10"/>
              </a:cxn>
              <a:cxn ang="0">
                <a:pos x="2" y="13"/>
              </a:cxn>
              <a:cxn ang="0">
                <a:pos x="1" y="16"/>
              </a:cxn>
              <a:cxn ang="0">
                <a:pos x="0" y="20"/>
              </a:cxn>
              <a:cxn ang="0">
                <a:pos x="0" y="25"/>
              </a:cxn>
              <a:cxn ang="0">
                <a:pos x="0" y="30"/>
              </a:cxn>
              <a:cxn ang="0">
                <a:pos x="2" y="39"/>
              </a:cxn>
              <a:cxn ang="0">
                <a:pos x="6" y="48"/>
              </a:cxn>
              <a:cxn ang="0">
                <a:pos x="9" y="57"/>
              </a:cxn>
              <a:cxn ang="0">
                <a:pos x="13" y="66"/>
              </a:cxn>
              <a:cxn ang="0">
                <a:pos x="20" y="73"/>
              </a:cxn>
              <a:cxn ang="0">
                <a:pos x="22" y="76"/>
              </a:cxn>
              <a:cxn ang="0">
                <a:pos x="26" y="78"/>
              </a:cxn>
              <a:cxn ang="0">
                <a:pos x="30" y="80"/>
              </a:cxn>
              <a:cxn ang="0">
                <a:pos x="33" y="80"/>
              </a:cxn>
              <a:cxn ang="0">
                <a:pos x="36" y="79"/>
              </a:cxn>
              <a:cxn ang="0">
                <a:pos x="38" y="78"/>
              </a:cxn>
              <a:cxn ang="0">
                <a:pos x="42" y="76"/>
              </a:cxn>
              <a:cxn ang="0">
                <a:pos x="45" y="73"/>
              </a:cxn>
              <a:cxn ang="0">
                <a:pos x="48" y="70"/>
              </a:cxn>
              <a:cxn ang="0">
                <a:pos x="51" y="67"/>
              </a:cxn>
              <a:cxn ang="0">
                <a:pos x="53" y="64"/>
              </a:cxn>
              <a:cxn ang="0">
                <a:pos x="53" y="62"/>
              </a:cxn>
              <a:cxn ang="0">
                <a:pos x="52" y="54"/>
              </a:cxn>
              <a:cxn ang="0">
                <a:pos x="49" y="47"/>
              </a:cxn>
              <a:cxn ang="0">
                <a:pos x="46" y="42"/>
              </a:cxn>
              <a:cxn ang="0">
                <a:pos x="43" y="37"/>
              </a:cxn>
              <a:cxn ang="0">
                <a:pos x="40" y="32"/>
              </a:cxn>
              <a:cxn ang="0">
                <a:pos x="36" y="27"/>
              </a:cxn>
              <a:cxn ang="0">
                <a:pos x="34" y="20"/>
              </a:cxn>
              <a:cxn ang="0">
                <a:pos x="33" y="12"/>
              </a:cxn>
              <a:cxn ang="0">
                <a:pos x="33" y="10"/>
              </a:cxn>
              <a:cxn ang="0">
                <a:pos x="31" y="8"/>
              </a:cxn>
              <a:cxn ang="0">
                <a:pos x="29" y="6"/>
              </a:cxn>
              <a:cxn ang="0">
                <a:pos x="25" y="4"/>
              </a:cxn>
              <a:cxn ang="0">
                <a:pos x="19" y="1"/>
              </a:cxn>
              <a:cxn ang="0">
                <a:pos x="13" y="0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53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3870326" y="5097464"/>
            <a:ext cx="17463" cy="53975"/>
          </a:xfrm>
          <a:custGeom>
            <a:avLst/>
            <a:gdLst/>
            <a:ahLst/>
            <a:cxnLst>
              <a:cxn ang="0">
                <a:pos x="0" y="43"/>
              </a:cxn>
              <a:cxn ang="0">
                <a:pos x="27" y="43"/>
              </a:cxn>
              <a:cxn ang="0">
                <a:pos x="41" y="24"/>
              </a:cxn>
              <a:cxn ang="0">
                <a:pos x="38" y="12"/>
              </a:cxn>
              <a:cxn ang="0">
                <a:pos x="34" y="0"/>
              </a:cxn>
              <a:cxn ang="0">
                <a:pos x="27" y="4"/>
              </a:cxn>
              <a:cxn ang="0">
                <a:pos x="20" y="9"/>
              </a:cxn>
              <a:cxn ang="0">
                <a:pos x="15" y="14"/>
              </a:cxn>
              <a:cxn ang="0">
                <a:pos x="10" y="19"/>
              </a:cxn>
              <a:cxn ang="0">
                <a:pos x="6" y="24"/>
              </a:cxn>
              <a:cxn ang="0">
                <a:pos x="3" y="30"/>
              </a:cxn>
              <a:cxn ang="0">
                <a:pos x="1" y="37"/>
              </a:cxn>
              <a:cxn ang="0">
                <a:pos x="0" y="43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54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3875089" y="5119689"/>
            <a:ext cx="7937" cy="58737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0" y="0"/>
              </a:cxn>
              <a:cxn ang="0">
                <a:pos x="1" y="5"/>
              </a:cxn>
              <a:cxn ang="0">
                <a:pos x="2" y="9"/>
              </a:cxn>
              <a:cxn ang="0">
                <a:pos x="4" y="13"/>
              </a:cxn>
              <a:cxn ang="0">
                <a:pos x="7" y="17"/>
              </a:cxn>
              <a:cxn ang="0">
                <a:pos x="10" y="20"/>
              </a:cxn>
              <a:cxn ang="0">
                <a:pos x="14" y="22"/>
              </a:cxn>
              <a:cxn ang="0">
                <a:pos x="17" y="24"/>
              </a:cxn>
              <a:cxn ang="0">
                <a:pos x="20" y="24"/>
              </a:cxn>
              <a:cxn ang="0">
                <a:pos x="20" y="0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55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3889376" y="5181601"/>
            <a:ext cx="17463" cy="60325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2" y="17"/>
              </a:cxn>
              <a:cxn ang="0">
                <a:pos x="6" y="22"/>
              </a:cxn>
              <a:cxn ang="0">
                <a:pos x="12" y="27"/>
              </a:cxn>
              <a:cxn ang="0">
                <a:pos x="16" y="32"/>
              </a:cxn>
              <a:cxn ang="0">
                <a:pos x="23" y="37"/>
              </a:cxn>
              <a:cxn ang="0">
                <a:pos x="28" y="40"/>
              </a:cxn>
              <a:cxn ang="0">
                <a:pos x="34" y="43"/>
              </a:cxn>
              <a:cxn ang="0">
                <a:pos x="39" y="43"/>
              </a:cxn>
              <a:cxn ang="0">
                <a:pos x="38" y="32"/>
              </a:cxn>
              <a:cxn ang="0">
                <a:pos x="36" y="19"/>
              </a:cxn>
              <a:cxn ang="0">
                <a:pos x="34" y="8"/>
              </a:cxn>
              <a:cxn ang="0">
                <a:pos x="32" y="0"/>
              </a:cxn>
              <a:cxn ang="0">
                <a:pos x="19" y="3"/>
              </a:cxn>
              <a:cxn ang="0">
                <a:pos x="6" y="6"/>
              </a:cxn>
              <a:cxn ang="0">
                <a:pos x="0" y="12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56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3876675" y="5194300"/>
            <a:ext cx="26988" cy="58738"/>
          </a:xfrm>
          <a:custGeom>
            <a:avLst/>
            <a:gdLst/>
            <a:ahLst/>
            <a:cxnLst>
              <a:cxn ang="0">
                <a:pos x="29" y="26"/>
              </a:cxn>
              <a:cxn ang="0">
                <a:pos x="8" y="0"/>
              </a:cxn>
              <a:cxn ang="0">
                <a:pos x="4" y="5"/>
              </a:cxn>
              <a:cxn ang="0">
                <a:pos x="1" y="11"/>
              </a:cxn>
              <a:cxn ang="0">
                <a:pos x="0" y="16"/>
              </a:cxn>
              <a:cxn ang="0">
                <a:pos x="0" y="21"/>
              </a:cxn>
              <a:cxn ang="0">
                <a:pos x="2" y="26"/>
              </a:cxn>
              <a:cxn ang="0">
                <a:pos x="4" y="31"/>
              </a:cxn>
              <a:cxn ang="0">
                <a:pos x="8" y="36"/>
              </a:cxn>
              <a:cxn ang="0">
                <a:pos x="11" y="41"/>
              </a:cxn>
              <a:cxn ang="0">
                <a:pos x="16" y="45"/>
              </a:cxn>
              <a:cxn ang="0">
                <a:pos x="21" y="49"/>
              </a:cxn>
              <a:cxn ang="0">
                <a:pos x="26" y="53"/>
              </a:cxn>
              <a:cxn ang="0">
                <a:pos x="33" y="56"/>
              </a:cxn>
              <a:cxn ang="0">
                <a:pos x="38" y="58"/>
              </a:cxn>
              <a:cxn ang="0">
                <a:pos x="44" y="60"/>
              </a:cxn>
              <a:cxn ang="0">
                <a:pos x="49" y="61"/>
              </a:cxn>
              <a:cxn ang="0">
                <a:pos x="55" y="62"/>
              </a:cxn>
              <a:cxn ang="0">
                <a:pos x="54" y="53"/>
              </a:cxn>
              <a:cxn ang="0">
                <a:pos x="53" y="46"/>
              </a:cxn>
              <a:cxn ang="0">
                <a:pos x="49" y="40"/>
              </a:cxn>
              <a:cxn ang="0">
                <a:pos x="46" y="35"/>
              </a:cxn>
              <a:cxn ang="0">
                <a:pos x="43" y="31"/>
              </a:cxn>
              <a:cxn ang="0">
                <a:pos x="38" y="28"/>
              </a:cxn>
              <a:cxn ang="0">
                <a:pos x="33" y="26"/>
              </a:cxn>
              <a:cxn ang="0">
                <a:pos x="29" y="26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57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3906838" y="5227639"/>
            <a:ext cx="11112" cy="58737"/>
          </a:xfrm>
          <a:custGeom>
            <a:avLst/>
            <a:gdLst/>
            <a:ahLst/>
            <a:cxnLst>
              <a:cxn ang="0">
                <a:pos x="33" y="13"/>
              </a:cxn>
              <a:cxn ang="0">
                <a:pos x="7" y="0"/>
              </a:cxn>
              <a:cxn ang="0">
                <a:pos x="4" y="8"/>
              </a:cxn>
              <a:cxn ang="0">
                <a:pos x="0" y="19"/>
              </a:cxn>
              <a:cxn ang="0">
                <a:pos x="2" y="28"/>
              </a:cxn>
              <a:cxn ang="0">
                <a:pos x="5" y="36"/>
              </a:cxn>
              <a:cxn ang="0">
                <a:pos x="6" y="39"/>
              </a:cxn>
              <a:cxn ang="0">
                <a:pos x="8" y="41"/>
              </a:cxn>
              <a:cxn ang="0">
                <a:pos x="11" y="43"/>
              </a:cxn>
              <a:cxn ang="0">
                <a:pos x="14" y="43"/>
              </a:cxn>
              <a:cxn ang="0">
                <a:pos x="18" y="43"/>
              </a:cxn>
              <a:cxn ang="0">
                <a:pos x="22" y="42"/>
              </a:cxn>
              <a:cxn ang="0">
                <a:pos x="26" y="41"/>
              </a:cxn>
              <a:cxn ang="0">
                <a:pos x="28" y="39"/>
              </a:cxn>
              <a:cxn ang="0">
                <a:pos x="31" y="35"/>
              </a:cxn>
              <a:cxn ang="0">
                <a:pos x="33" y="30"/>
              </a:cxn>
              <a:cxn ang="0">
                <a:pos x="35" y="20"/>
              </a:cxn>
              <a:cxn ang="0">
                <a:pos x="33" y="13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58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3903664" y="5260976"/>
            <a:ext cx="20637" cy="55563"/>
          </a:xfrm>
          <a:custGeom>
            <a:avLst/>
            <a:gdLst/>
            <a:ahLst/>
            <a:cxnLst>
              <a:cxn ang="0">
                <a:pos x="53" y="0"/>
              </a:cxn>
              <a:cxn ang="0">
                <a:pos x="41" y="1"/>
              </a:cxn>
              <a:cxn ang="0">
                <a:pos x="32" y="2"/>
              </a:cxn>
              <a:cxn ang="0">
                <a:pos x="25" y="5"/>
              </a:cxn>
              <a:cxn ang="0">
                <a:pos x="21" y="7"/>
              </a:cxn>
              <a:cxn ang="0">
                <a:pos x="17" y="10"/>
              </a:cxn>
              <a:cxn ang="0">
                <a:pos x="13" y="13"/>
              </a:cxn>
              <a:cxn ang="0">
                <a:pos x="8" y="16"/>
              </a:cxn>
              <a:cxn ang="0">
                <a:pos x="0" y="18"/>
              </a:cxn>
              <a:cxn ang="0">
                <a:pos x="5" y="20"/>
              </a:cxn>
              <a:cxn ang="0">
                <a:pos x="11" y="21"/>
              </a:cxn>
              <a:cxn ang="0">
                <a:pos x="17" y="21"/>
              </a:cxn>
              <a:cxn ang="0">
                <a:pos x="24" y="21"/>
              </a:cxn>
              <a:cxn ang="0">
                <a:pos x="38" y="19"/>
              </a:cxn>
              <a:cxn ang="0">
                <a:pos x="53" y="18"/>
              </a:cxn>
              <a:cxn ang="0">
                <a:pos x="53" y="0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59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3927476" y="5275263"/>
            <a:ext cx="17463" cy="57150"/>
          </a:xfrm>
          <a:custGeom>
            <a:avLst/>
            <a:gdLst/>
            <a:ahLst/>
            <a:cxnLst>
              <a:cxn ang="0">
                <a:pos x="22" y="0"/>
              </a:cxn>
              <a:cxn ang="0">
                <a:pos x="12" y="0"/>
              </a:cxn>
              <a:cxn ang="0">
                <a:pos x="2" y="0"/>
              </a:cxn>
              <a:cxn ang="0">
                <a:pos x="1" y="0"/>
              </a:cxn>
              <a:cxn ang="0">
                <a:pos x="0" y="1"/>
              </a:cxn>
              <a:cxn ang="0">
                <a:pos x="0" y="3"/>
              </a:cxn>
              <a:cxn ang="0">
                <a:pos x="0" y="6"/>
              </a:cxn>
              <a:cxn ang="0">
                <a:pos x="1" y="10"/>
              </a:cxn>
              <a:cxn ang="0">
                <a:pos x="2" y="12"/>
              </a:cxn>
              <a:cxn ang="0">
                <a:pos x="3" y="18"/>
              </a:cxn>
              <a:cxn ang="0">
                <a:pos x="5" y="25"/>
              </a:cxn>
              <a:cxn ang="0">
                <a:pos x="10" y="30"/>
              </a:cxn>
              <a:cxn ang="0">
                <a:pos x="15" y="34"/>
              </a:cxn>
              <a:cxn ang="0">
                <a:pos x="21" y="37"/>
              </a:cxn>
              <a:cxn ang="0">
                <a:pos x="27" y="38"/>
              </a:cxn>
              <a:cxn ang="0">
                <a:pos x="35" y="38"/>
              </a:cxn>
              <a:cxn ang="0">
                <a:pos x="43" y="37"/>
              </a:cxn>
              <a:cxn ang="0">
                <a:pos x="40" y="29"/>
              </a:cxn>
              <a:cxn ang="0">
                <a:pos x="36" y="23"/>
              </a:cxn>
              <a:cxn ang="0">
                <a:pos x="33" y="17"/>
              </a:cxn>
              <a:cxn ang="0">
                <a:pos x="30" y="13"/>
              </a:cxn>
              <a:cxn ang="0">
                <a:pos x="27" y="10"/>
              </a:cxn>
              <a:cxn ang="0">
                <a:pos x="24" y="7"/>
              </a:cxn>
              <a:cxn ang="0">
                <a:pos x="23" y="4"/>
              </a:cxn>
              <a:cxn ang="0">
                <a:pos x="22" y="0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60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3929063" y="5303838"/>
            <a:ext cx="6350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2"/>
              </a:cxn>
              <a:cxn ang="0">
                <a:pos x="2" y="3"/>
              </a:cxn>
              <a:cxn ang="0">
                <a:pos x="4" y="4"/>
              </a:cxn>
              <a:cxn ang="0">
                <a:pos x="7" y="5"/>
              </a:cxn>
              <a:cxn ang="0">
                <a:pos x="11" y="4"/>
              </a:cxn>
              <a:cxn ang="0">
                <a:pos x="14" y="3"/>
              </a:cxn>
              <a:cxn ang="0">
                <a:pos x="17" y="2"/>
              </a:cxn>
              <a:cxn ang="0">
                <a:pos x="20" y="0"/>
              </a:cxn>
              <a:cxn ang="0">
                <a:pos x="0" y="0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61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4003676" y="5373688"/>
            <a:ext cx="34925" cy="57150"/>
          </a:xfrm>
          <a:custGeom>
            <a:avLst/>
            <a:gdLst/>
            <a:ahLst/>
            <a:cxnLst>
              <a:cxn ang="0">
                <a:pos x="40" y="0"/>
              </a:cxn>
              <a:cxn ang="0">
                <a:pos x="32" y="1"/>
              </a:cxn>
              <a:cxn ang="0">
                <a:pos x="26" y="2"/>
              </a:cxn>
              <a:cxn ang="0">
                <a:pos x="20" y="5"/>
              </a:cxn>
              <a:cxn ang="0">
                <a:pos x="15" y="8"/>
              </a:cxn>
              <a:cxn ang="0">
                <a:pos x="6" y="14"/>
              </a:cxn>
              <a:cxn ang="0">
                <a:pos x="0" y="19"/>
              </a:cxn>
              <a:cxn ang="0">
                <a:pos x="20" y="20"/>
              </a:cxn>
              <a:cxn ang="0">
                <a:pos x="39" y="22"/>
              </a:cxn>
              <a:cxn ang="0">
                <a:pos x="49" y="22"/>
              </a:cxn>
              <a:cxn ang="0">
                <a:pos x="57" y="22"/>
              </a:cxn>
              <a:cxn ang="0">
                <a:pos x="65" y="21"/>
              </a:cxn>
              <a:cxn ang="0">
                <a:pos x="73" y="19"/>
              </a:cxn>
              <a:cxn ang="0">
                <a:pos x="64" y="14"/>
              </a:cxn>
              <a:cxn ang="0">
                <a:pos x="56" y="8"/>
              </a:cxn>
              <a:cxn ang="0">
                <a:pos x="53" y="5"/>
              </a:cxn>
              <a:cxn ang="0">
                <a:pos x="49" y="2"/>
              </a:cxn>
              <a:cxn ang="0">
                <a:pos x="44" y="1"/>
              </a:cxn>
              <a:cxn ang="0">
                <a:pos x="40" y="0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62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4041776" y="5314951"/>
            <a:ext cx="123825" cy="100013"/>
          </a:xfrm>
          <a:custGeom>
            <a:avLst/>
            <a:gdLst/>
            <a:ahLst/>
            <a:cxnLst>
              <a:cxn ang="0">
                <a:pos x="235" y="168"/>
              </a:cxn>
              <a:cxn ang="0">
                <a:pos x="188" y="171"/>
              </a:cxn>
              <a:cxn ang="0">
                <a:pos x="168" y="168"/>
              </a:cxn>
              <a:cxn ang="0">
                <a:pos x="155" y="164"/>
              </a:cxn>
              <a:cxn ang="0">
                <a:pos x="130" y="135"/>
              </a:cxn>
              <a:cxn ang="0">
                <a:pos x="104" y="94"/>
              </a:cxn>
              <a:cxn ang="0">
                <a:pos x="94" y="74"/>
              </a:cxn>
              <a:cxn ang="0">
                <a:pos x="87" y="51"/>
              </a:cxn>
              <a:cxn ang="0">
                <a:pos x="83" y="27"/>
              </a:cxn>
              <a:cxn ang="0">
                <a:pos x="43" y="0"/>
              </a:cxn>
              <a:cxn ang="0">
                <a:pos x="28" y="52"/>
              </a:cxn>
              <a:cxn ang="0">
                <a:pos x="18" y="61"/>
              </a:cxn>
              <a:cxn ang="0">
                <a:pos x="6" y="69"/>
              </a:cxn>
              <a:cxn ang="0">
                <a:pos x="0" y="73"/>
              </a:cxn>
              <a:cxn ang="0">
                <a:pos x="1" y="75"/>
              </a:cxn>
              <a:cxn ang="0">
                <a:pos x="9" y="81"/>
              </a:cxn>
              <a:cxn ang="0">
                <a:pos x="37" y="111"/>
              </a:cxn>
              <a:cxn ang="0">
                <a:pos x="45" y="122"/>
              </a:cxn>
              <a:cxn ang="0">
                <a:pos x="53" y="129"/>
              </a:cxn>
              <a:cxn ang="0">
                <a:pos x="62" y="134"/>
              </a:cxn>
              <a:cxn ang="0">
                <a:pos x="71" y="136"/>
              </a:cxn>
              <a:cxn ang="0">
                <a:pos x="76" y="141"/>
              </a:cxn>
              <a:cxn ang="0">
                <a:pos x="79" y="148"/>
              </a:cxn>
              <a:cxn ang="0">
                <a:pos x="86" y="153"/>
              </a:cxn>
              <a:cxn ang="0">
                <a:pos x="99" y="154"/>
              </a:cxn>
              <a:cxn ang="0">
                <a:pos x="106" y="157"/>
              </a:cxn>
              <a:cxn ang="0">
                <a:pos x="109" y="163"/>
              </a:cxn>
              <a:cxn ang="0">
                <a:pos x="109" y="179"/>
              </a:cxn>
              <a:cxn ang="0">
                <a:pos x="111" y="189"/>
              </a:cxn>
              <a:cxn ang="0">
                <a:pos x="115" y="193"/>
              </a:cxn>
              <a:cxn ang="0">
                <a:pos x="129" y="193"/>
              </a:cxn>
              <a:cxn ang="0">
                <a:pos x="164" y="191"/>
              </a:cxn>
              <a:cxn ang="0">
                <a:pos x="180" y="189"/>
              </a:cxn>
              <a:cxn ang="0">
                <a:pos x="192" y="186"/>
              </a:cxn>
              <a:cxn ang="0">
                <a:pos x="212" y="188"/>
              </a:cxn>
              <a:cxn ang="0">
                <a:pos x="281" y="167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63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3594100" y="3081339"/>
            <a:ext cx="52388" cy="58737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4" y="26"/>
              </a:cxn>
              <a:cxn ang="0">
                <a:pos x="10" y="33"/>
              </a:cxn>
              <a:cxn ang="0">
                <a:pos x="15" y="37"/>
              </a:cxn>
              <a:cxn ang="0">
                <a:pos x="21" y="41"/>
              </a:cxn>
              <a:cxn ang="0">
                <a:pos x="27" y="44"/>
              </a:cxn>
              <a:cxn ang="0">
                <a:pos x="35" y="46"/>
              </a:cxn>
              <a:cxn ang="0">
                <a:pos x="43" y="48"/>
              </a:cxn>
              <a:cxn ang="0">
                <a:pos x="51" y="49"/>
              </a:cxn>
              <a:cxn ang="0">
                <a:pos x="67" y="50"/>
              </a:cxn>
              <a:cxn ang="0">
                <a:pos x="85" y="51"/>
              </a:cxn>
              <a:cxn ang="0">
                <a:pos x="102" y="52"/>
              </a:cxn>
              <a:cxn ang="0">
                <a:pos x="120" y="56"/>
              </a:cxn>
              <a:cxn ang="0">
                <a:pos x="120" y="37"/>
              </a:cxn>
              <a:cxn ang="0">
                <a:pos x="111" y="34"/>
              </a:cxn>
              <a:cxn ang="0">
                <a:pos x="102" y="30"/>
              </a:cxn>
              <a:cxn ang="0">
                <a:pos x="94" y="24"/>
              </a:cxn>
              <a:cxn ang="0">
                <a:pos x="88" y="18"/>
              </a:cxn>
              <a:cxn ang="0">
                <a:pos x="81" y="13"/>
              </a:cxn>
              <a:cxn ang="0">
                <a:pos x="75" y="7"/>
              </a:cxn>
              <a:cxn ang="0">
                <a:pos x="67" y="3"/>
              </a:cxn>
              <a:cxn ang="0">
                <a:pos x="60" y="0"/>
              </a:cxn>
              <a:cxn ang="0">
                <a:pos x="55" y="1"/>
              </a:cxn>
              <a:cxn ang="0">
                <a:pos x="48" y="3"/>
              </a:cxn>
              <a:cxn ang="0">
                <a:pos x="41" y="6"/>
              </a:cxn>
              <a:cxn ang="0">
                <a:pos x="33" y="9"/>
              </a:cxn>
              <a:cxn ang="0">
                <a:pos x="24" y="13"/>
              </a:cxn>
              <a:cxn ang="0">
                <a:pos x="16" y="15"/>
              </a:cxn>
              <a:cxn ang="0">
                <a:pos x="8" y="18"/>
              </a:cxn>
              <a:cxn ang="0">
                <a:pos x="0" y="18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64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3451226" y="2943225"/>
            <a:ext cx="250825" cy="109538"/>
          </a:xfrm>
          <a:custGeom>
            <a:avLst/>
            <a:gdLst/>
            <a:ahLst/>
            <a:cxnLst>
              <a:cxn ang="0">
                <a:pos x="127" y="1"/>
              </a:cxn>
              <a:cxn ang="0">
                <a:pos x="95" y="6"/>
              </a:cxn>
              <a:cxn ang="0">
                <a:pos x="66" y="16"/>
              </a:cxn>
              <a:cxn ang="0">
                <a:pos x="43" y="26"/>
              </a:cxn>
              <a:cxn ang="0">
                <a:pos x="30" y="35"/>
              </a:cxn>
              <a:cxn ang="0">
                <a:pos x="16" y="51"/>
              </a:cxn>
              <a:cxn ang="0">
                <a:pos x="4" y="71"/>
              </a:cxn>
              <a:cxn ang="0">
                <a:pos x="0" y="82"/>
              </a:cxn>
              <a:cxn ang="0">
                <a:pos x="1" y="86"/>
              </a:cxn>
              <a:cxn ang="0">
                <a:pos x="13" y="86"/>
              </a:cxn>
              <a:cxn ang="0">
                <a:pos x="29" y="83"/>
              </a:cxn>
              <a:cxn ang="0">
                <a:pos x="52" y="75"/>
              </a:cxn>
              <a:cxn ang="0">
                <a:pos x="80" y="58"/>
              </a:cxn>
              <a:cxn ang="0">
                <a:pos x="102" y="46"/>
              </a:cxn>
              <a:cxn ang="0">
                <a:pos x="119" y="40"/>
              </a:cxn>
              <a:cxn ang="0">
                <a:pos x="175" y="37"/>
              </a:cxn>
              <a:cxn ang="0">
                <a:pos x="176" y="48"/>
              </a:cxn>
              <a:cxn ang="0">
                <a:pos x="180" y="55"/>
              </a:cxn>
              <a:cxn ang="0">
                <a:pos x="184" y="59"/>
              </a:cxn>
              <a:cxn ang="0">
                <a:pos x="190" y="61"/>
              </a:cxn>
              <a:cxn ang="0">
                <a:pos x="229" y="61"/>
              </a:cxn>
              <a:cxn ang="0">
                <a:pos x="269" y="78"/>
              </a:cxn>
              <a:cxn ang="0">
                <a:pos x="302" y="95"/>
              </a:cxn>
              <a:cxn ang="0">
                <a:pos x="336" y="111"/>
              </a:cxn>
              <a:cxn ang="0">
                <a:pos x="375" y="123"/>
              </a:cxn>
              <a:cxn ang="0">
                <a:pos x="376" y="134"/>
              </a:cxn>
              <a:cxn ang="0">
                <a:pos x="382" y="142"/>
              </a:cxn>
              <a:cxn ang="0">
                <a:pos x="396" y="152"/>
              </a:cxn>
              <a:cxn ang="0">
                <a:pos x="428" y="166"/>
              </a:cxn>
              <a:cxn ang="0">
                <a:pos x="402" y="191"/>
              </a:cxn>
              <a:cxn ang="0">
                <a:pos x="407" y="197"/>
              </a:cxn>
              <a:cxn ang="0">
                <a:pos x="414" y="201"/>
              </a:cxn>
              <a:cxn ang="0">
                <a:pos x="429" y="204"/>
              </a:cxn>
              <a:cxn ang="0">
                <a:pos x="461" y="204"/>
              </a:cxn>
              <a:cxn ang="0">
                <a:pos x="555" y="189"/>
              </a:cxn>
              <a:cxn ang="0">
                <a:pos x="559" y="183"/>
              </a:cxn>
              <a:cxn ang="0">
                <a:pos x="565" y="177"/>
              </a:cxn>
              <a:cxn ang="0">
                <a:pos x="572" y="173"/>
              </a:cxn>
              <a:cxn ang="0">
                <a:pos x="574" y="161"/>
              </a:cxn>
              <a:cxn ang="0">
                <a:pos x="561" y="153"/>
              </a:cxn>
              <a:cxn ang="0">
                <a:pos x="532" y="148"/>
              </a:cxn>
              <a:cxn ang="0">
                <a:pos x="504" y="138"/>
              </a:cxn>
              <a:cxn ang="0">
                <a:pos x="475" y="124"/>
              </a:cxn>
              <a:cxn ang="0">
                <a:pos x="433" y="100"/>
              </a:cxn>
              <a:cxn ang="0">
                <a:pos x="383" y="68"/>
              </a:cxn>
              <a:cxn ang="0">
                <a:pos x="358" y="54"/>
              </a:cxn>
              <a:cxn ang="0">
                <a:pos x="348" y="52"/>
              </a:cxn>
              <a:cxn ang="0">
                <a:pos x="330" y="52"/>
              </a:cxn>
              <a:cxn ang="0">
                <a:pos x="312" y="51"/>
              </a:cxn>
              <a:cxn ang="0">
                <a:pos x="302" y="49"/>
              </a:cxn>
              <a:cxn ang="0">
                <a:pos x="294" y="43"/>
              </a:cxn>
              <a:cxn ang="0">
                <a:pos x="290" y="32"/>
              </a:cxn>
              <a:cxn ang="0">
                <a:pos x="142" y="0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65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3756025" y="3046413"/>
            <a:ext cx="88900" cy="69850"/>
          </a:xfrm>
          <a:custGeom>
            <a:avLst/>
            <a:gdLst/>
            <a:ahLst/>
            <a:cxnLst>
              <a:cxn ang="0">
                <a:pos x="41" y="129"/>
              </a:cxn>
              <a:cxn ang="0">
                <a:pos x="50" y="121"/>
              </a:cxn>
              <a:cxn ang="0">
                <a:pos x="60" y="115"/>
              </a:cxn>
              <a:cxn ang="0">
                <a:pos x="70" y="110"/>
              </a:cxn>
              <a:cxn ang="0">
                <a:pos x="81" y="105"/>
              </a:cxn>
              <a:cxn ang="0">
                <a:pos x="105" y="99"/>
              </a:cxn>
              <a:cxn ang="0">
                <a:pos x="129" y="92"/>
              </a:cxn>
              <a:cxn ang="0">
                <a:pos x="152" y="87"/>
              </a:cxn>
              <a:cxn ang="0">
                <a:pos x="173" y="81"/>
              </a:cxn>
              <a:cxn ang="0">
                <a:pos x="182" y="77"/>
              </a:cxn>
              <a:cxn ang="0">
                <a:pos x="191" y="73"/>
              </a:cxn>
              <a:cxn ang="0">
                <a:pos x="200" y="67"/>
              </a:cxn>
              <a:cxn ang="0">
                <a:pos x="207" y="61"/>
              </a:cxn>
              <a:cxn ang="0">
                <a:pos x="198" y="54"/>
              </a:cxn>
              <a:cxn ang="0">
                <a:pos x="188" y="47"/>
              </a:cxn>
              <a:cxn ang="0">
                <a:pos x="179" y="42"/>
              </a:cxn>
              <a:cxn ang="0">
                <a:pos x="169" y="36"/>
              </a:cxn>
              <a:cxn ang="0">
                <a:pos x="150" y="29"/>
              </a:cxn>
              <a:cxn ang="0">
                <a:pos x="129" y="23"/>
              </a:cxn>
              <a:cxn ang="0">
                <a:pos x="107" y="18"/>
              </a:cxn>
              <a:cxn ang="0">
                <a:pos x="85" y="13"/>
              </a:cxn>
              <a:cxn ang="0">
                <a:pos x="63" y="7"/>
              </a:cxn>
              <a:cxn ang="0">
                <a:pos x="41" y="0"/>
              </a:cxn>
              <a:cxn ang="0">
                <a:pos x="0" y="0"/>
              </a:cxn>
              <a:cxn ang="0">
                <a:pos x="1" y="6"/>
              </a:cxn>
              <a:cxn ang="0">
                <a:pos x="2" y="13"/>
              </a:cxn>
              <a:cxn ang="0">
                <a:pos x="4" y="19"/>
              </a:cxn>
              <a:cxn ang="0">
                <a:pos x="6" y="25"/>
              </a:cxn>
              <a:cxn ang="0">
                <a:pos x="10" y="35"/>
              </a:cxn>
              <a:cxn ang="0">
                <a:pos x="13" y="46"/>
              </a:cxn>
              <a:cxn ang="0">
                <a:pos x="17" y="54"/>
              </a:cxn>
              <a:cxn ang="0">
                <a:pos x="18" y="62"/>
              </a:cxn>
              <a:cxn ang="0">
                <a:pos x="17" y="65"/>
              </a:cxn>
              <a:cxn ang="0">
                <a:pos x="14" y="68"/>
              </a:cxn>
              <a:cxn ang="0">
                <a:pos x="11" y="71"/>
              </a:cxn>
              <a:cxn ang="0">
                <a:pos x="7" y="73"/>
              </a:cxn>
              <a:cxn ang="0">
                <a:pos x="0" y="104"/>
              </a:cxn>
              <a:cxn ang="0">
                <a:pos x="4" y="106"/>
              </a:cxn>
              <a:cxn ang="0">
                <a:pos x="13" y="110"/>
              </a:cxn>
              <a:cxn ang="0">
                <a:pos x="19" y="113"/>
              </a:cxn>
              <a:cxn ang="0">
                <a:pos x="25" y="117"/>
              </a:cxn>
              <a:cxn ang="0">
                <a:pos x="33" y="122"/>
              </a:cxn>
              <a:cxn ang="0">
                <a:pos x="41" y="129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66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3324225" y="3106739"/>
            <a:ext cx="33338" cy="84137"/>
          </a:xfrm>
          <a:custGeom>
            <a:avLst/>
            <a:gdLst/>
            <a:ahLst/>
            <a:cxnLst>
              <a:cxn ang="0">
                <a:pos x="72" y="0"/>
              </a:cxn>
              <a:cxn ang="0">
                <a:pos x="69" y="4"/>
              </a:cxn>
              <a:cxn ang="0">
                <a:pos x="67" y="9"/>
              </a:cxn>
              <a:cxn ang="0">
                <a:pos x="66" y="13"/>
              </a:cxn>
              <a:cxn ang="0">
                <a:pos x="66" y="18"/>
              </a:cxn>
              <a:cxn ang="0">
                <a:pos x="66" y="27"/>
              </a:cxn>
              <a:cxn ang="0">
                <a:pos x="66" y="37"/>
              </a:cxn>
              <a:cxn ang="0">
                <a:pos x="69" y="43"/>
              </a:cxn>
              <a:cxn ang="0">
                <a:pos x="71" y="50"/>
              </a:cxn>
              <a:cxn ang="0">
                <a:pos x="71" y="57"/>
              </a:cxn>
              <a:cxn ang="0">
                <a:pos x="71" y="65"/>
              </a:cxn>
              <a:cxn ang="0">
                <a:pos x="69" y="73"/>
              </a:cxn>
              <a:cxn ang="0">
                <a:pos x="67" y="82"/>
              </a:cxn>
              <a:cxn ang="0">
                <a:pos x="65" y="91"/>
              </a:cxn>
              <a:cxn ang="0">
                <a:pos x="61" y="100"/>
              </a:cxn>
              <a:cxn ang="0">
                <a:pos x="53" y="116"/>
              </a:cxn>
              <a:cxn ang="0">
                <a:pos x="44" y="131"/>
              </a:cxn>
              <a:cxn ang="0">
                <a:pos x="34" y="144"/>
              </a:cxn>
              <a:cxn ang="0">
                <a:pos x="26" y="154"/>
              </a:cxn>
              <a:cxn ang="0">
                <a:pos x="26" y="141"/>
              </a:cxn>
              <a:cxn ang="0">
                <a:pos x="15" y="144"/>
              </a:cxn>
              <a:cxn ang="0">
                <a:pos x="0" y="148"/>
              </a:cxn>
              <a:cxn ang="0">
                <a:pos x="3" y="129"/>
              </a:cxn>
              <a:cxn ang="0">
                <a:pos x="8" y="105"/>
              </a:cxn>
              <a:cxn ang="0">
                <a:pos x="9" y="92"/>
              </a:cxn>
              <a:cxn ang="0">
                <a:pos x="12" y="77"/>
              </a:cxn>
              <a:cxn ang="0">
                <a:pos x="15" y="63"/>
              </a:cxn>
              <a:cxn ang="0">
                <a:pos x="20" y="49"/>
              </a:cxn>
              <a:cxn ang="0">
                <a:pos x="20" y="0"/>
              </a:cxn>
              <a:cxn ang="0">
                <a:pos x="25" y="0"/>
              </a:cxn>
              <a:cxn ang="0">
                <a:pos x="38" y="0"/>
              </a:cxn>
              <a:cxn ang="0">
                <a:pos x="56" y="0"/>
              </a:cxn>
              <a:cxn ang="0">
                <a:pos x="72" y="0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67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3244851" y="3106738"/>
            <a:ext cx="93663" cy="146050"/>
          </a:xfrm>
          <a:custGeom>
            <a:avLst/>
            <a:gdLst/>
            <a:ahLst/>
            <a:cxnLst>
              <a:cxn ang="0">
                <a:pos x="8" y="207"/>
              </a:cxn>
              <a:cxn ang="0">
                <a:pos x="12" y="181"/>
              </a:cxn>
              <a:cxn ang="0">
                <a:pos x="24" y="148"/>
              </a:cxn>
              <a:cxn ang="0">
                <a:pos x="35" y="118"/>
              </a:cxn>
              <a:cxn ang="0">
                <a:pos x="44" y="112"/>
              </a:cxn>
              <a:cxn ang="0">
                <a:pos x="65" y="111"/>
              </a:cxn>
              <a:cxn ang="0">
                <a:pos x="89" y="111"/>
              </a:cxn>
              <a:cxn ang="0">
                <a:pos x="106" y="110"/>
              </a:cxn>
              <a:cxn ang="0">
                <a:pos x="120" y="105"/>
              </a:cxn>
              <a:cxn ang="0">
                <a:pos x="130" y="94"/>
              </a:cxn>
              <a:cxn ang="0">
                <a:pos x="113" y="73"/>
              </a:cxn>
              <a:cxn ang="0">
                <a:pos x="86" y="58"/>
              </a:cxn>
              <a:cxn ang="0">
                <a:pos x="77" y="49"/>
              </a:cxn>
              <a:cxn ang="0">
                <a:pos x="74" y="41"/>
              </a:cxn>
              <a:cxn ang="0">
                <a:pos x="75" y="34"/>
              </a:cxn>
              <a:cxn ang="0">
                <a:pos x="82" y="28"/>
              </a:cxn>
              <a:cxn ang="0">
                <a:pos x="101" y="19"/>
              </a:cxn>
              <a:cxn ang="0">
                <a:pos x="150" y="3"/>
              </a:cxn>
              <a:cxn ang="0">
                <a:pos x="180" y="0"/>
              </a:cxn>
              <a:cxn ang="0">
                <a:pos x="198" y="0"/>
              </a:cxn>
              <a:cxn ang="0">
                <a:pos x="207" y="49"/>
              </a:cxn>
              <a:cxn ang="0">
                <a:pos x="199" y="77"/>
              </a:cxn>
              <a:cxn ang="0">
                <a:pos x="195" y="105"/>
              </a:cxn>
              <a:cxn ang="0">
                <a:pos x="187" y="148"/>
              </a:cxn>
              <a:cxn ang="0">
                <a:pos x="213" y="154"/>
              </a:cxn>
              <a:cxn ang="0">
                <a:pos x="214" y="166"/>
              </a:cxn>
              <a:cxn ang="0">
                <a:pos x="210" y="174"/>
              </a:cxn>
              <a:cxn ang="0">
                <a:pos x="207" y="177"/>
              </a:cxn>
              <a:cxn ang="0">
                <a:pos x="200" y="178"/>
              </a:cxn>
              <a:cxn ang="0">
                <a:pos x="192" y="196"/>
              </a:cxn>
              <a:cxn ang="0">
                <a:pos x="181" y="214"/>
              </a:cxn>
              <a:cxn ang="0">
                <a:pos x="155" y="243"/>
              </a:cxn>
              <a:cxn ang="0">
                <a:pos x="120" y="271"/>
              </a:cxn>
              <a:cxn ang="0">
                <a:pos x="87" y="261"/>
              </a:cxn>
              <a:cxn ang="0">
                <a:pos x="55" y="248"/>
              </a:cxn>
              <a:cxn ang="0">
                <a:pos x="0" y="22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68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3292475" y="3217863"/>
            <a:ext cx="71438" cy="57150"/>
          </a:xfrm>
          <a:custGeom>
            <a:avLst/>
            <a:gdLst/>
            <a:ahLst/>
            <a:cxnLst>
              <a:cxn ang="0">
                <a:pos x="60" y="0"/>
              </a:cxn>
              <a:cxn ang="0">
                <a:pos x="83" y="14"/>
              </a:cxn>
              <a:cxn ang="0">
                <a:pos x="104" y="24"/>
              </a:cxn>
              <a:cxn ang="0">
                <a:pos x="115" y="28"/>
              </a:cxn>
              <a:cxn ang="0">
                <a:pos x="126" y="31"/>
              </a:cxn>
              <a:cxn ang="0">
                <a:pos x="133" y="32"/>
              </a:cxn>
              <a:cxn ang="0">
                <a:pos x="139" y="32"/>
              </a:cxn>
              <a:cxn ang="0">
                <a:pos x="146" y="31"/>
              </a:cxn>
              <a:cxn ang="0">
                <a:pos x="153" y="30"/>
              </a:cxn>
              <a:cxn ang="0">
                <a:pos x="153" y="56"/>
              </a:cxn>
              <a:cxn ang="0">
                <a:pos x="149" y="60"/>
              </a:cxn>
              <a:cxn ang="0">
                <a:pos x="145" y="65"/>
              </a:cxn>
              <a:cxn ang="0">
                <a:pos x="138" y="69"/>
              </a:cxn>
              <a:cxn ang="0">
                <a:pos x="132" y="72"/>
              </a:cxn>
              <a:cxn ang="0">
                <a:pos x="125" y="75"/>
              </a:cxn>
              <a:cxn ang="0">
                <a:pos x="119" y="78"/>
              </a:cxn>
              <a:cxn ang="0">
                <a:pos x="112" y="79"/>
              </a:cxn>
              <a:cxn ang="0">
                <a:pos x="106" y="80"/>
              </a:cxn>
              <a:cxn ang="0">
                <a:pos x="90" y="74"/>
              </a:cxn>
              <a:cxn ang="0">
                <a:pos x="76" y="71"/>
              </a:cxn>
              <a:cxn ang="0">
                <a:pos x="63" y="69"/>
              </a:cxn>
              <a:cxn ang="0">
                <a:pos x="50" y="69"/>
              </a:cxn>
              <a:cxn ang="0">
                <a:pos x="39" y="68"/>
              </a:cxn>
              <a:cxn ang="0">
                <a:pos x="27" y="67"/>
              </a:cxn>
              <a:cxn ang="0">
                <a:pos x="14" y="65"/>
              </a:cxn>
              <a:cxn ang="0">
                <a:pos x="0" y="62"/>
              </a:cxn>
              <a:cxn ang="0">
                <a:pos x="7" y="58"/>
              </a:cxn>
              <a:cxn ang="0">
                <a:pos x="23" y="45"/>
              </a:cxn>
              <a:cxn ang="0">
                <a:pos x="34" y="37"/>
              </a:cxn>
              <a:cxn ang="0">
                <a:pos x="45" y="28"/>
              </a:cxn>
              <a:cxn ang="0">
                <a:pos x="56" y="17"/>
              </a:cxn>
              <a:cxn ang="0">
                <a:pos x="67" y="6"/>
              </a:cxn>
              <a:cxn ang="0">
                <a:pos x="60" y="0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69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3324226" y="3179763"/>
            <a:ext cx="142875" cy="87312"/>
          </a:xfrm>
          <a:custGeom>
            <a:avLst/>
            <a:gdLst/>
            <a:ahLst/>
            <a:cxnLst>
              <a:cxn ang="0">
                <a:pos x="0" y="77"/>
              </a:cxn>
              <a:cxn ang="0">
                <a:pos x="44" y="101"/>
              </a:cxn>
              <a:cxn ang="0">
                <a:pos x="66" y="108"/>
              </a:cxn>
              <a:cxn ang="0">
                <a:pos x="79" y="109"/>
              </a:cxn>
              <a:cxn ang="0">
                <a:pos x="93" y="107"/>
              </a:cxn>
              <a:cxn ang="0">
                <a:pos x="90" y="144"/>
              </a:cxn>
              <a:cxn ang="0">
                <a:pos x="95" y="154"/>
              </a:cxn>
              <a:cxn ang="0">
                <a:pos x="99" y="163"/>
              </a:cxn>
              <a:cxn ang="0">
                <a:pos x="107" y="168"/>
              </a:cxn>
              <a:cxn ang="0">
                <a:pos x="117" y="169"/>
              </a:cxn>
              <a:cxn ang="0">
                <a:pos x="123" y="166"/>
              </a:cxn>
              <a:cxn ang="0">
                <a:pos x="132" y="157"/>
              </a:cxn>
              <a:cxn ang="0">
                <a:pos x="146" y="136"/>
              </a:cxn>
              <a:cxn ang="0">
                <a:pos x="174" y="115"/>
              </a:cxn>
              <a:cxn ang="0">
                <a:pos x="214" y="96"/>
              </a:cxn>
              <a:cxn ang="0">
                <a:pos x="256" y="80"/>
              </a:cxn>
              <a:cxn ang="0">
                <a:pos x="304" y="65"/>
              </a:cxn>
              <a:cxn ang="0">
                <a:pos x="332" y="46"/>
              </a:cxn>
              <a:cxn ang="0">
                <a:pos x="332" y="22"/>
              </a:cxn>
              <a:cxn ang="0">
                <a:pos x="320" y="2"/>
              </a:cxn>
              <a:cxn ang="0">
                <a:pos x="283" y="1"/>
              </a:cxn>
              <a:cxn ang="0">
                <a:pos x="234" y="0"/>
              </a:cxn>
              <a:cxn ang="0">
                <a:pos x="180" y="1"/>
              </a:cxn>
              <a:cxn ang="0">
                <a:pos x="131" y="4"/>
              </a:cxn>
              <a:cxn ang="0">
                <a:pos x="90" y="10"/>
              </a:cxn>
              <a:cxn ang="0">
                <a:pos x="59" y="19"/>
              </a:cxn>
              <a:cxn ang="0">
                <a:pos x="42" y="22"/>
              </a:cxn>
              <a:cxn ang="0">
                <a:pos x="35" y="23"/>
              </a:cxn>
              <a:cxn ang="0">
                <a:pos x="34" y="26"/>
              </a:cxn>
              <a:cxn ang="0">
                <a:pos x="33" y="38"/>
              </a:cxn>
              <a:cxn ang="0">
                <a:pos x="29" y="44"/>
              </a:cxn>
              <a:cxn ang="0">
                <a:pos x="23" y="46"/>
              </a:cxn>
              <a:cxn ang="0">
                <a:pos x="19" y="55"/>
              </a:cxn>
              <a:cxn ang="0">
                <a:pos x="11" y="72"/>
              </a:cxn>
              <a:cxn ang="0">
                <a:pos x="7" y="83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70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3341688" y="3209925"/>
            <a:ext cx="125412" cy="122238"/>
          </a:xfrm>
          <a:custGeom>
            <a:avLst/>
            <a:gdLst/>
            <a:ahLst/>
            <a:cxnLst>
              <a:cxn ang="0">
                <a:pos x="44" y="86"/>
              </a:cxn>
              <a:cxn ang="0">
                <a:pos x="49" y="96"/>
              </a:cxn>
              <a:cxn ang="0">
                <a:pos x="53" y="105"/>
              </a:cxn>
              <a:cxn ang="0">
                <a:pos x="61" y="110"/>
              </a:cxn>
              <a:cxn ang="0">
                <a:pos x="71" y="111"/>
              </a:cxn>
              <a:cxn ang="0">
                <a:pos x="77" y="108"/>
              </a:cxn>
              <a:cxn ang="0">
                <a:pos x="86" y="99"/>
              </a:cxn>
              <a:cxn ang="0">
                <a:pos x="100" y="78"/>
              </a:cxn>
              <a:cxn ang="0">
                <a:pos x="128" y="57"/>
              </a:cxn>
              <a:cxn ang="0">
                <a:pos x="168" y="38"/>
              </a:cxn>
              <a:cxn ang="0">
                <a:pos x="210" y="22"/>
              </a:cxn>
              <a:cxn ang="0">
                <a:pos x="258" y="7"/>
              </a:cxn>
              <a:cxn ang="0">
                <a:pos x="286" y="11"/>
              </a:cxn>
              <a:cxn ang="0">
                <a:pos x="282" y="32"/>
              </a:cxn>
              <a:cxn ang="0">
                <a:pos x="272" y="70"/>
              </a:cxn>
              <a:cxn ang="0">
                <a:pos x="254" y="128"/>
              </a:cxn>
              <a:cxn ang="0">
                <a:pos x="244" y="174"/>
              </a:cxn>
              <a:cxn ang="0">
                <a:pos x="240" y="206"/>
              </a:cxn>
              <a:cxn ang="0">
                <a:pos x="146" y="216"/>
              </a:cxn>
              <a:cxn ang="0">
                <a:pos x="138" y="218"/>
              </a:cxn>
              <a:cxn ang="0">
                <a:pos x="132" y="223"/>
              </a:cxn>
              <a:cxn ang="0">
                <a:pos x="127" y="235"/>
              </a:cxn>
              <a:cxn ang="0">
                <a:pos x="109" y="217"/>
              </a:cxn>
              <a:cxn ang="0">
                <a:pos x="94" y="199"/>
              </a:cxn>
              <a:cxn ang="0">
                <a:pos x="69" y="160"/>
              </a:cxn>
              <a:cxn ang="0">
                <a:pos x="55" y="142"/>
              </a:cxn>
              <a:cxn ang="0">
                <a:pos x="41" y="125"/>
              </a:cxn>
              <a:cxn ang="0">
                <a:pos x="22" y="110"/>
              </a:cxn>
              <a:cxn ang="0">
                <a:pos x="0" y="99"/>
              </a:cxn>
              <a:cxn ang="0">
                <a:pos x="13" y="97"/>
              </a:cxn>
              <a:cxn ang="0">
                <a:pos x="26" y="91"/>
              </a:cxn>
              <a:cxn ang="0">
                <a:pos x="39" y="84"/>
              </a:cxn>
              <a:cxn ang="0">
                <a:pos x="47" y="7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71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3392489" y="3322638"/>
            <a:ext cx="84137" cy="100012"/>
          </a:xfrm>
          <a:custGeom>
            <a:avLst/>
            <a:gdLst/>
            <a:ahLst/>
            <a:cxnLst>
              <a:cxn ang="0">
                <a:pos x="188" y="185"/>
              </a:cxn>
              <a:cxn ang="0">
                <a:pos x="175" y="185"/>
              </a:cxn>
              <a:cxn ang="0">
                <a:pos x="158" y="185"/>
              </a:cxn>
              <a:cxn ang="0">
                <a:pos x="144" y="180"/>
              </a:cxn>
              <a:cxn ang="0">
                <a:pos x="136" y="173"/>
              </a:cxn>
              <a:cxn ang="0">
                <a:pos x="129" y="163"/>
              </a:cxn>
              <a:cxn ang="0">
                <a:pos x="120" y="147"/>
              </a:cxn>
              <a:cxn ang="0">
                <a:pos x="110" y="131"/>
              </a:cxn>
              <a:cxn ang="0">
                <a:pos x="99" y="121"/>
              </a:cxn>
              <a:cxn ang="0">
                <a:pos x="93" y="126"/>
              </a:cxn>
              <a:cxn ang="0">
                <a:pos x="90" y="135"/>
              </a:cxn>
              <a:cxn ang="0">
                <a:pos x="84" y="130"/>
              </a:cxn>
              <a:cxn ang="0">
                <a:pos x="72" y="113"/>
              </a:cxn>
              <a:cxn ang="0">
                <a:pos x="56" y="87"/>
              </a:cxn>
              <a:cxn ang="0">
                <a:pos x="41" y="67"/>
              </a:cxn>
              <a:cxn ang="0">
                <a:pos x="31" y="58"/>
              </a:cxn>
              <a:cxn ang="0">
                <a:pos x="26" y="60"/>
              </a:cxn>
              <a:cxn ang="0">
                <a:pos x="29" y="69"/>
              </a:cxn>
              <a:cxn ang="0">
                <a:pos x="34" y="78"/>
              </a:cxn>
              <a:cxn ang="0">
                <a:pos x="41" y="84"/>
              </a:cxn>
              <a:cxn ang="0">
                <a:pos x="46" y="105"/>
              </a:cxn>
              <a:cxn ang="0">
                <a:pos x="13" y="98"/>
              </a:cxn>
              <a:cxn ang="0">
                <a:pos x="4" y="84"/>
              </a:cxn>
              <a:cxn ang="0">
                <a:pos x="0" y="60"/>
              </a:cxn>
              <a:cxn ang="0">
                <a:pos x="0" y="38"/>
              </a:cxn>
              <a:cxn ang="0">
                <a:pos x="3" y="28"/>
              </a:cxn>
              <a:cxn ang="0">
                <a:pos x="8" y="22"/>
              </a:cxn>
              <a:cxn ang="0">
                <a:pos x="14" y="13"/>
              </a:cxn>
              <a:cxn ang="0">
                <a:pos x="20" y="4"/>
              </a:cxn>
              <a:cxn ang="0">
                <a:pos x="28" y="0"/>
              </a:cxn>
              <a:cxn ang="0">
                <a:pos x="126" y="6"/>
              </a:cxn>
              <a:cxn ang="0">
                <a:pos x="127" y="21"/>
              </a:cxn>
              <a:cxn ang="0">
                <a:pos x="130" y="37"/>
              </a:cxn>
              <a:cxn ang="0">
                <a:pos x="143" y="70"/>
              </a:cxn>
              <a:cxn ang="0">
                <a:pos x="165" y="102"/>
              </a:cxn>
              <a:cxn ang="0">
                <a:pos x="177" y="117"/>
              </a:cxn>
              <a:cxn ang="0">
                <a:pos x="192" y="130"/>
              </a:cxn>
              <a:cxn ang="0">
                <a:pos x="189" y="143"/>
              </a:cxn>
              <a:cxn ang="0">
                <a:pos x="189" y="156"/>
              </a:cxn>
              <a:cxn ang="0">
                <a:pos x="192" y="191"/>
              </a:cxn>
              <a:cxn ang="0">
                <a:pos x="205" y="185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72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3473451" y="3376614"/>
            <a:ext cx="142875" cy="79375"/>
          </a:xfrm>
          <a:custGeom>
            <a:avLst/>
            <a:gdLst/>
            <a:ahLst/>
            <a:cxnLst>
              <a:cxn ang="0">
                <a:pos x="3" y="58"/>
              </a:cxn>
              <a:cxn ang="0">
                <a:pos x="0" y="42"/>
              </a:cxn>
              <a:cxn ang="0">
                <a:pos x="2" y="31"/>
              </a:cxn>
              <a:cxn ang="0">
                <a:pos x="17" y="33"/>
              </a:cxn>
              <a:cxn ang="0">
                <a:pos x="36" y="41"/>
              </a:cxn>
              <a:cxn ang="0">
                <a:pos x="49" y="43"/>
              </a:cxn>
              <a:cxn ang="0">
                <a:pos x="67" y="43"/>
              </a:cxn>
              <a:cxn ang="0">
                <a:pos x="86" y="39"/>
              </a:cxn>
              <a:cxn ang="0">
                <a:pos x="110" y="30"/>
              </a:cxn>
              <a:cxn ang="0">
                <a:pos x="140" y="13"/>
              </a:cxn>
              <a:cxn ang="0">
                <a:pos x="162" y="4"/>
              </a:cxn>
              <a:cxn ang="0">
                <a:pos x="179" y="0"/>
              </a:cxn>
              <a:cxn ang="0">
                <a:pos x="203" y="0"/>
              </a:cxn>
              <a:cxn ang="0">
                <a:pos x="224" y="6"/>
              </a:cxn>
              <a:cxn ang="0">
                <a:pos x="243" y="15"/>
              </a:cxn>
              <a:cxn ang="0">
                <a:pos x="259" y="28"/>
              </a:cxn>
              <a:cxn ang="0">
                <a:pos x="280" y="46"/>
              </a:cxn>
              <a:cxn ang="0">
                <a:pos x="302" y="61"/>
              </a:cxn>
              <a:cxn ang="0">
                <a:pos x="319" y="67"/>
              </a:cxn>
              <a:cxn ang="0">
                <a:pos x="313" y="82"/>
              </a:cxn>
              <a:cxn ang="0">
                <a:pos x="293" y="106"/>
              </a:cxn>
              <a:cxn ang="0">
                <a:pos x="277" y="138"/>
              </a:cxn>
              <a:cxn ang="0">
                <a:pos x="265" y="153"/>
              </a:cxn>
              <a:cxn ang="0">
                <a:pos x="253" y="146"/>
              </a:cxn>
              <a:cxn ang="0">
                <a:pos x="240" y="136"/>
              </a:cxn>
              <a:cxn ang="0">
                <a:pos x="230" y="126"/>
              </a:cxn>
              <a:cxn ang="0">
                <a:pos x="230" y="114"/>
              </a:cxn>
              <a:cxn ang="0">
                <a:pos x="235" y="100"/>
              </a:cxn>
              <a:cxn ang="0">
                <a:pos x="249" y="86"/>
              </a:cxn>
              <a:cxn ang="0">
                <a:pos x="233" y="68"/>
              </a:cxn>
              <a:cxn ang="0">
                <a:pos x="207" y="55"/>
              </a:cxn>
              <a:cxn ang="0">
                <a:pos x="195" y="41"/>
              </a:cxn>
              <a:cxn ang="0">
                <a:pos x="179" y="34"/>
              </a:cxn>
              <a:cxn ang="0">
                <a:pos x="163" y="41"/>
              </a:cxn>
              <a:cxn ang="0">
                <a:pos x="150" y="50"/>
              </a:cxn>
              <a:cxn ang="0">
                <a:pos x="140" y="61"/>
              </a:cxn>
              <a:cxn ang="0">
                <a:pos x="132" y="74"/>
              </a:cxn>
              <a:cxn ang="0">
                <a:pos x="128" y="88"/>
              </a:cxn>
              <a:cxn ang="0">
                <a:pos x="123" y="109"/>
              </a:cxn>
              <a:cxn ang="0">
                <a:pos x="122" y="125"/>
              </a:cxn>
              <a:cxn ang="0">
                <a:pos x="118" y="129"/>
              </a:cxn>
              <a:cxn ang="0">
                <a:pos x="108" y="135"/>
              </a:cxn>
              <a:cxn ang="0">
                <a:pos x="96" y="135"/>
              </a:cxn>
              <a:cxn ang="0">
                <a:pos x="83" y="129"/>
              </a:cxn>
              <a:cxn ang="0">
                <a:pos x="66" y="116"/>
              </a:cxn>
              <a:cxn ang="0">
                <a:pos x="48" y="94"/>
              </a:cxn>
              <a:cxn ang="0">
                <a:pos x="33" y="80"/>
              </a:cxn>
              <a:cxn ang="0">
                <a:pos x="22" y="74"/>
              </a:cxn>
              <a:cxn ang="0">
                <a:pos x="3" y="73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73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4154488" y="4630739"/>
            <a:ext cx="133350" cy="155575"/>
          </a:xfrm>
          <a:custGeom>
            <a:avLst/>
            <a:gdLst/>
            <a:ahLst/>
            <a:cxnLst>
              <a:cxn ang="0">
                <a:pos x="297" y="181"/>
              </a:cxn>
              <a:cxn ang="0">
                <a:pos x="296" y="185"/>
              </a:cxn>
              <a:cxn ang="0">
                <a:pos x="291" y="194"/>
              </a:cxn>
              <a:cxn ang="0">
                <a:pos x="282" y="199"/>
              </a:cxn>
              <a:cxn ang="0">
                <a:pos x="272" y="201"/>
              </a:cxn>
              <a:cxn ang="0">
                <a:pos x="263" y="207"/>
              </a:cxn>
              <a:cxn ang="0">
                <a:pos x="253" y="229"/>
              </a:cxn>
              <a:cxn ang="0">
                <a:pos x="242" y="254"/>
              </a:cxn>
              <a:cxn ang="0">
                <a:pos x="231" y="267"/>
              </a:cxn>
              <a:cxn ang="0">
                <a:pos x="221" y="273"/>
              </a:cxn>
              <a:cxn ang="0">
                <a:pos x="200" y="281"/>
              </a:cxn>
              <a:cxn ang="0">
                <a:pos x="164" y="290"/>
              </a:cxn>
              <a:cxn ang="0">
                <a:pos x="139" y="293"/>
              </a:cxn>
              <a:cxn ang="0">
                <a:pos x="123" y="293"/>
              </a:cxn>
              <a:cxn ang="0">
                <a:pos x="106" y="290"/>
              </a:cxn>
              <a:cxn ang="0">
                <a:pos x="92" y="286"/>
              </a:cxn>
              <a:cxn ang="0">
                <a:pos x="80" y="278"/>
              </a:cxn>
              <a:cxn ang="0">
                <a:pos x="71" y="268"/>
              </a:cxn>
              <a:cxn ang="0">
                <a:pos x="1" y="236"/>
              </a:cxn>
              <a:cxn ang="0">
                <a:pos x="0" y="88"/>
              </a:cxn>
              <a:cxn ang="0">
                <a:pos x="1" y="49"/>
              </a:cxn>
              <a:cxn ang="0">
                <a:pos x="4" y="35"/>
              </a:cxn>
              <a:cxn ang="0">
                <a:pos x="11" y="21"/>
              </a:cxn>
              <a:cxn ang="0">
                <a:pos x="20" y="8"/>
              </a:cxn>
              <a:cxn ang="0">
                <a:pos x="41" y="2"/>
              </a:cxn>
              <a:cxn ang="0">
                <a:pos x="53" y="0"/>
              </a:cxn>
              <a:cxn ang="0">
                <a:pos x="72" y="6"/>
              </a:cxn>
              <a:cxn ang="0">
                <a:pos x="80" y="7"/>
              </a:cxn>
              <a:cxn ang="0">
                <a:pos x="84" y="4"/>
              </a:cxn>
              <a:cxn ang="0">
                <a:pos x="87" y="5"/>
              </a:cxn>
              <a:cxn ang="0">
                <a:pos x="90" y="11"/>
              </a:cxn>
              <a:cxn ang="0">
                <a:pos x="99" y="19"/>
              </a:cxn>
              <a:cxn ang="0">
                <a:pos x="121" y="31"/>
              </a:cxn>
              <a:cxn ang="0">
                <a:pos x="148" y="41"/>
              </a:cxn>
              <a:cxn ang="0">
                <a:pos x="182" y="59"/>
              </a:cxn>
              <a:cxn ang="0">
                <a:pos x="210" y="79"/>
              </a:cxn>
              <a:cxn ang="0">
                <a:pos x="241" y="102"/>
              </a:cxn>
              <a:cxn ang="0">
                <a:pos x="261" y="117"/>
              </a:cxn>
              <a:cxn ang="0">
                <a:pos x="266" y="124"/>
              </a:cxn>
              <a:cxn ang="0">
                <a:pos x="280" y="135"/>
              </a:cxn>
              <a:cxn ang="0">
                <a:pos x="299" y="151"/>
              </a:cxn>
              <a:cxn ang="0">
                <a:pos x="306" y="161"/>
              </a:cxn>
              <a:cxn ang="0">
                <a:pos x="304" y="166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74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5700714" y="1247776"/>
            <a:ext cx="236537" cy="92075"/>
          </a:xfrm>
          <a:custGeom>
            <a:avLst/>
            <a:gdLst/>
            <a:ahLst/>
            <a:cxnLst>
              <a:cxn ang="0">
                <a:pos x="74" y="19"/>
              </a:cxn>
              <a:cxn ang="0">
                <a:pos x="94" y="34"/>
              </a:cxn>
              <a:cxn ang="0">
                <a:pos x="110" y="27"/>
              </a:cxn>
              <a:cxn ang="0">
                <a:pos x="132" y="27"/>
              </a:cxn>
              <a:cxn ang="0">
                <a:pos x="161" y="44"/>
              </a:cxn>
              <a:cxn ang="0">
                <a:pos x="209" y="19"/>
              </a:cxn>
              <a:cxn ang="0">
                <a:pos x="243" y="19"/>
              </a:cxn>
              <a:cxn ang="0">
                <a:pos x="260" y="16"/>
              </a:cxn>
              <a:cxn ang="0">
                <a:pos x="269" y="14"/>
              </a:cxn>
              <a:cxn ang="0">
                <a:pos x="279" y="11"/>
              </a:cxn>
              <a:cxn ang="0">
                <a:pos x="286" y="3"/>
              </a:cxn>
              <a:cxn ang="0">
                <a:pos x="321" y="5"/>
              </a:cxn>
              <a:cxn ang="0">
                <a:pos x="333" y="12"/>
              </a:cxn>
              <a:cxn ang="0">
                <a:pos x="348" y="7"/>
              </a:cxn>
              <a:cxn ang="0">
                <a:pos x="353" y="0"/>
              </a:cxn>
              <a:cxn ang="0">
                <a:pos x="367" y="7"/>
              </a:cxn>
              <a:cxn ang="0">
                <a:pos x="389" y="7"/>
              </a:cxn>
              <a:cxn ang="0">
                <a:pos x="436" y="1"/>
              </a:cxn>
              <a:cxn ang="0">
                <a:pos x="482" y="6"/>
              </a:cxn>
              <a:cxn ang="0">
                <a:pos x="528" y="12"/>
              </a:cxn>
              <a:cxn ang="0">
                <a:pos x="545" y="49"/>
              </a:cxn>
              <a:cxn ang="0">
                <a:pos x="537" y="60"/>
              </a:cxn>
              <a:cxn ang="0">
                <a:pos x="513" y="62"/>
              </a:cxn>
              <a:cxn ang="0">
                <a:pos x="483" y="54"/>
              </a:cxn>
              <a:cxn ang="0">
                <a:pos x="413" y="44"/>
              </a:cxn>
              <a:cxn ang="0">
                <a:pos x="438" y="81"/>
              </a:cxn>
              <a:cxn ang="0">
                <a:pos x="471" y="102"/>
              </a:cxn>
              <a:cxn ang="0">
                <a:pos x="493" y="119"/>
              </a:cxn>
              <a:cxn ang="0">
                <a:pos x="475" y="136"/>
              </a:cxn>
              <a:cxn ang="0">
                <a:pos x="449" y="142"/>
              </a:cxn>
              <a:cxn ang="0">
                <a:pos x="426" y="141"/>
              </a:cxn>
              <a:cxn ang="0">
                <a:pos x="412" y="134"/>
              </a:cxn>
              <a:cxn ang="0">
                <a:pos x="399" y="130"/>
              </a:cxn>
              <a:cxn ang="0">
                <a:pos x="385" y="121"/>
              </a:cxn>
              <a:cxn ang="0">
                <a:pos x="375" y="104"/>
              </a:cxn>
              <a:cxn ang="0">
                <a:pos x="365" y="92"/>
              </a:cxn>
              <a:cxn ang="0">
                <a:pos x="344" y="84"/>
              </a:cxn>
              <a:cxn ang="0">
                <a:pos x="325" y="76"/>
              </a:cxn>
              <a:cxn ang="0">
                <a:pos x="303" y="87"/>
              </a:cxn>
              <a:cxn ang="0">
                <a:pos x="258" y="134"/>
              </a:cxn>
              <a:cxn ang="0">
                <a:pos x="236" y="163"/>
              </a:cxn>
              <a:cxn ang="0">
                <a:pos x="220" y="172"/>
              </a:cxn>
              <a:cxn ang="0">
                <a:pos x="188" y="167"/>
              </a:cxn>
              <a:cxn ang="0">
                <a:pos x="165" y="155"/>
              </a:cxn>
              <a:cxn ang="0">
                <a:pos x="113" y="105"/>
              </a:cxn>
              <a:cxn ang="0">
                <a:pos x="95" y="91"/>
              </a:cxn>
              <a:cxn ang="0">
                <a:pos x="60" y="76"/>
              </a:cxn>
              <a:cxn ang="0">
                <a:pos x="16" y="58"/>
              </a:cxn>
              <a:cxn ang="0">
                <a:pos x="11" y="34"/>
              </a:cxn>
              <a:cxn ang="0">
                <a:pos x="28" y="19"/>
              </a:cxn>
              <a:cxn ang="0">
                <a:pos x="47" y="12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75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5627688" y="1477963"/>
            <a:ext cx="449262" cy="361950"/>
          </a:xfrm>
          <a:custGeom>
            <a:avLst/>
            <a:gdLst/>
            <a:ahLst/>
            <a:cxnLst>
              <a:cxn ang="0">
                <a:pos x="240" y="622"/>
              </a:cxn>
              <a:cxn ang="0">
                <a:pos x="155" y="683"/>
              </a:cxn>
              <a:cxn ang="0">
                <a:pos x="32" y="654"/>
              </a:cxn>
              <a:cxn ang="0">
                <a:pos x="67" y="634"/>
              </a:cxn>
              <a:cxn ang="0">
                <a:pos x="18" y="596"/>
              </a:cxn>
              <a:cxn ang="0">
                <a:pos x="44" y="595"/>
              </a:cxn>
              <a:cxn ang="0">
                <a:pos x="67" y="567"/>
              </a:cxn>
              <a:cxn ang="0">
                <a:pos x="8" y="546"/>
              </a:cxn>
              <a:cxn ang="0">
                <a:pos x="74" y="523"/>
              </a:cxn>
              <a:cxn ang="0">
                <a:pos x="0" y="499"/>
              </a:cxn>
              <a:cxn ang="0">
                <a:pos x="20" y="456"/>
              </a:cxn>
              <a:cxn ang="0">
                <a:pos x="37" y="461"/>
              </a:cxn>
              <a:cxn ang="0">
                <a:pos x="77" y="449"/>
              </a:cxn>
              <a:cxn ang="0">
                <a:pos x="92" y="424"/>
              </a:cxn>
              <a:cxn ang="0">
                <a:pos x="130" y="409"/>
              </a:cxn>
              <a:cxn ang="0">
                <a:pos x="220" y="382"/>
              </a:cxn>
              <a:cxn ang="0">
                <a:pos x="227" y="339"/>
              </a:cxn>
              <a:cxn ang="0">
                <a:pos x="283" y="325"/>
              </a:cxn>
              <a:cxn ang="0">
                <a:pos x="282" y="310"/>
              </a:cxn>
              <a:cxn ang="0">
                <a:pos x="298" y="285"/>
              </a:cxn>
              <a:cxn ang="0">
                <a:pos x="335" y="243"/>
              </a:cxn>
              <a:cxn ang="0">
                <a:pos x="343" y="226"/>
              </a:cxn>
              <a:cxn ang="0">
                <a:pos x="390" y="200"/>
              </a:cxn>
              <a:cxn ang="0">
                <a:pos x="387" y="157"/>
              </a:cxn>
              <a:cxn ang="0">
                <a:pos x="373" y="142"/>
              </a:cxn>
              <a:cxn ang="0">
                <a:pos x="334" y="154"/>
              </a:cxn>
              <a:cxn ang="0">
                <a:pos x="390" y="103"/>
              </a:cxn>
              <a:cxn ang="0">
                <a:pos x="411" y="96"/>
              </a:cxn>
              <a:cxn ang="0">
                <a:pos x="463" y="114"/>
              </a:cxn>
              <a:cxn ang="0">
                <a:pos x="466" y="91"/>
              </a:cxn>
              <a:cxn ang="0">
                <a:pos x="558" y="61"/>
              </a:cxn>
              <a:cxn ang="0">
                <a:pos x="591" y="63"/>
              </a:cxn>
              <a:cxn ang="0">
                <a:pos x="645" y="55"/>
              </a:cxn>
              <a:cxn ang="0">
                <a:pos x="645" y="33"/>
              </a:cxn>
              <a:cxn ang="0">
                <a:pos x="699" y="13"/>
              </a:cxn>
              <a:cxn ang="0">
                <a:pos x="705" y="29"/>
              </a:cxn>
              <a:cxn ang="0">
                <a:pos x="712" y="40"/>
              </a:cxn>
              <a:cxn ang="0">
                <a:pos x="758" y="12"/>
              </a:cxn>
              <a:cxn ang="0">
                <a:pos x="817" y="6"/>
              </a:cxn>
              <a:cxn ang="0">
                <a:pos x="844" y="8"/>
              </a:cxn>
              <a:cxn ang="0">
                <a:pos x="862" y="11"/>
              </a:cxn>
              <a:cxn ang="0">
                <a:pos x="924" y="6"/>
              </a:cxn>
              <a:cxn ang="0">
                <a:pos x="1037" y="43"/>
              </a:cxn>
              <a:cxn ang="0">
                <a:pos x="1005" y="79"/>
              </a:cxn>
              <a:cxn ang="0">
                <a:pos x="930" y="55"/>
              </a:cxn>
              <a:cxn ang="0">
                <a:pos x="873" y="74"/>
              </a:cxn>
              <a:cxn ang="0">
                <a:pos x="848" y="116"/>
              </a:cxn>
              <a:cxn ang="0">
                <a:pos x="811" y="111"/>
              </a:cxn>
              <a:cxn ang="0">
                <a:pos x="745" y="128"/>
              </a:cxn>
              <a:cxn ang="0">
                <a:pos x="694" y="92"/>
              </a:cxn>
              <a:cxn ang="0">
                <a:pos x="620" y="112"/>
              </a:cxn>
              <a:cxn ang="0">
                <a:pos x="534" y="134"/>
              </a:cxn>
              <a:cxn ang="0">
                <a:pos x="486" y="210"/>
              </a:cxn>
              <a:cxn ang="0">
                <a:pos x="430" y="279"/>
              </a:cxn>
              <a:cxn ang="0">
                <a:pos x="399" y="364"/>
              </a:cxn>
              <a:cxn ang="0">
                <a:pos x="333" y="425"/>
              </a:cxn>
              <a:cxn ang="0">
                <a:pos x="355" y="497"/>
              </a:cxn>
              <a:cxn ang="0">
                <a:pos x="354" y="558"/>
              </a:cxn>
              <a:cxn ang="0">
                <a:pos x="331" y="615"/>
              </a:cxn>
              <a:cxn ang="0">
                <a:pos x="295" y="645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76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5967413" y="2319339"/>
            <a:ext cx="49212" cy="90487"/>
          </a:xfrm>
          <a:custGeom>
            <a:avLst/>
            <a:gdLst/>
            <a:ahLst/>
            <a:cxnLst>
              <a:cxn ang="0">
                <a:pos x="120" y="99"/>
              </a:cxn>
              <a:cxn ang="0">
                <a:pos x="92" y="60"/>
              </a:cxn>
              <a:cxn ang="0">
                <a:pos x="70" y="28"/>
              </a:cxn>
              <a:cxn ang="0">
                <a:pos x="60" y="16"/>
              </a:cxn>
              <a:cxn ang="0">
                <a:pos x="53" y="8"/>
              </a:cxn>
              <a:cxn ang="0">
                <a:pos x="48" y="4"/>
              </a:cxn>
              <a:cxn ang="0">
                <a:pos x="45" y="2"/>
              </a:cxn>
              <a:cxn ang="0">
                <a:pos x="43" y="1"/>
              </a:cxn>
              <a:cxn ang="0">
                <a:pos x="39" y="0"/>
              </a:cxn>
              <a:cxn ang="0">
                <a:pos x="33" y="0"/>
              </a:cxn>
              <a:cxn ang="0">
                <a:pos x="27" y="1"/>
              </a:cxn>
              <a:cxn ang="0">
                <a:pos x="24" y="3"/>
              </a:cxn>
              <a:cxn ang="0">
                <a:pos x="21" y="5"/>
              </a:cxn>
              <a:cxn ang="0">
                <a:pos x="19" y="8"/>
              </a:cxn>
              <a:cxn ang="0">
                <a:pos x="16" y="12"/>
              </a:cxn>
              <a:cxn ang="0">
                <a:pos x="15" y="15"/>
              </a:cxn>
              <a:cxn ang="0">
                <a:pos x="15" y="20"/>
              </a:cxn>
              <a:cxn ang="0">
                <a:pos x="14" y="30"/>
              </a:cxn>
              <a:cxn ang="0">
                <a:pos x="12" y="42"/>
              </a:cxn>
              <a:cxn ang="0">
                <a:pos x="10" y="48"/>
              </a:cxn>
              <a:cxn ang="0">
                <a:pos x="8" y="54"/>
              </a:cxn>
              <a:cxn ang="0">
                <a:pos x="4" y="61"/>
              </a:cxn>
              <a:cxn ang="0">
                <a:pos x="0" y="68"/>
              </a:cxn>
              <a:cxn ang="0">
                <a:pos x="5" y="82"/>
              </a:cxn>
              <a:cxn ang="0">
                <a:pos x="10" y="99"/>
              </a:cxn>
              <a:cxn ang="0">
                <a:pos x="15" y="115"/>
              </a:cxn>
              <a:cxn ang="0">
                <a:pos x="20" y="129"/>
              </a:cxn>
              <a:cxn ang="0">
                <a:pos x="24" y="134"/>
              </a:cxn>
              <a:cxn ang="0">
                <a:pos x="30" y="139"/>
              </a:cxn>
              <a:cxn ang="0">
                <a:pos x="37" y="145"/>
              </a:cxn>
              <a:cxn ang="0">
                <a:pos x="46" y="151"/>
              </a:cxn>
              <a:cxn ang="0">
                <a:pos x="54" y="157"/>
              </a:cxn>
              <a:cxn ang="0">
                <a:pos x="60" y="163"/>
              </a:cxn>
              <a:cxn ang="0">
                <a:pos x="62" y="165"/>
              </a:cxn>
              <a:cxn ang="0">
                <a:pos x="65" y="168"/>
              </a:cxn>
              <a:cxn ang="0">
                <a:pos x="66" y="170"/>
              </a:cxn>
              <a:cxn ang="0">
                <a:pos x="67" y="173"/>
              </a:cxn>
              <a:cxn ang="0">
                <a:pos x="76" y="167"/>
              </a:cxn>
              <a:cxn ang="0">
                <a:pos x="86" y="160"/>
              </a:cxn>
              <a:cxn ang="0">
                <a:pos x="93" y="152"/>
              </a:cxn>
              <a:cxn ang="0">
                <a:pos x="101" y="142"/>
              </a:cxn>
              <a:cxn ang="0">
                <a:pos x="106" y="132"/>
              </a:cxn>
              <a:cxn ang="0">
                <a:pos x="112" y="121"/>
              </a:cxn>
              <a:cxn ang="0">
                <a:pos x="116" y="110"/>
              </a:cxn>
              <a:cxn ang="0">
                <a:pos x="120" y="9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77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5675314" y="2159000"/>
            <a:ext cx="84137" cy="58738"/>
          </a:xfrm>
          <a:custGeom>
            <a:avLst/>
            <a:gdLst/>
            <a:ahLst/>
            <a:cxnLst>
              <a:cxn ang="0">
                <a:pos x="200" y="55"/>
              </a:cxn>
              <a:cxn ang="0">
                <a:pos x="195" y="56"/>
              </a:cxn>
              <a:cxn ang="0">
                <a:pos x="186" y="60"/>
              </a:cxn>
              <a:cxn ang="0">
                <a:pos x="177" y="65"/>
              </a:cxn>
              <a:cxn ang="0">
                <a:pos x="166" y="73"/>
              </a:cxn>
              <a:cxn ang="0">
                <a:pos x="155" y="80"/>
              </a:cxn>
              <a:cxn ang="0">
                <a:pos x="145" y="87"/>
              </a:cxn>
              <a:cxn ang="0">
                <a:pos x="137" y="93"/>
              </a:cxn>
              <a:cxn ang="0">
                <a:pos x="133" y="98"/>
              </a:cxn>
              <a:cxn ang="0">
                <a:pos x="127" y="98"/>
              </a:cxn>
              <a:cxn ang="0">
                <a:pos x="122" y="98"/>
              </a:cxn>
              <a:cxn ang="0">
                <a:pos x="116" y="97"/>
              </a:cxn>
              <a:cxn ang="0">
                <a:pos x="111" y="95"/>
              </a:cxn>
              <a:cxn ang="0">
                <a:pos x="106" y="93"/>
              </a:cxn>
              <a:cxn ang="0">
                <a:pos x="103" y="88"/>
              </a:cxn>
              <a:cxn ang="0">
                <a:pos x="101" y="82"/>
              </a:cxn>
              <a:cxn ang="0">
                <a:pos x="100" y="74"/>
              </a:cxn>
              <a:cxn ang="0">
                <a:pos x="91" y="80"/>
              </a:cxn>
              <a:cxn ang="0">
                <a:pos x="82" y="86"/>
              </a:cxn>
              <a:cxn ang="0">
                <a:pos x="78" y="90"/>
              </a:cxn>
              <a:cxn ang="0">
                <a:pos x="72" y="93"/>
              </a:cxn>
              <a:cxn ang="0">
                <a:pos x="67" y="96"/>
              </a:cxn>
              <a:cxn ang="0">
                <a:pos x="60" y="98"/>
              </a:cxn>
              <a:cxn ang="0">
                <a:pos x="39" y="98"/>
              </a:cxn>
              <a:cxn ang="0">
                <a:pos x="34" y="98"/>
              </a:cxn>
              <a:cxn ang="0">
                <a:pos x="28" y="95"/>
              </a:cxn>
              <a:cxn ang="0">
                <a:pos x="22" y="92"/>
              </a:cxn>
              <a:cxn ang="0">
                <a:pos x="15" y="89"/>
              </a:cxn>
              <a:cxn ang="0">
                <a:pos x="9" y="85"/>
              </a:cxn>
              <a:cxn ang="0">
                <a:pos x="4" y="81"/>
              </a:cxn>
              <a:cxn ang="0">
                <a:pos x="1" y="77"/>
              </a:cxn>
              <a:cxn ang="0">
                <a:pos x="0" y="74"/>
              </a:cxn>
              <a:cxn ang="0">
                <a:pos x="5" y="71"/>
              </a:cxn>
              <a:cxn ang="0">
                <a:pos x="10" y="67"/>
              </a:cxn>
              <a:cxn ang="0">
                <a:pos x="14" y="60"/>
              </a:cxn>
              <a:cxn ang="0">
                <a:pos x="20" y="53"/>
              </a:cxn>
              <a:cxn ang="0">
                <a:pos x="23" y="45"/>
              </a:cxn>
              <a:cxn ang="0">
                <a:pos x="27" y="37"/>
              </a:cxn>
              <a:cxn ang="0">
                <a:pos x="30" y="28"/>
              </a:cxn>
              <a:cxn ang="0">
                <a:pos x="33" y="19"/>
              </a:cxn>
              <a:cxn ang="0">
                <a:pos x="66" y="14"/>
              </a:cxn>
              <a:cxn ang="0">
                <a:pos x="103" y="9"/>
              </a:cxn>
              <a:cxn ang="0">
                <a:pos x="145" y="4"/>
              </a:cxn>
              <a:cxn ang="0">
                <a:pos x="193" y="0"/>
              </a:cxn>
              <a:cxn ang="0">
                <a:pos x="166" y="31"/>
              </a:cxn>
              <a:cxn ang="0">
                <a:pos x="166" y="34"/>
              </a:cxn>
              <a:cxn ang="0">
                <a:pos x="164" y="37"/>
              </a:cxn>
              <a:cxn ang="0">
                <a:pos x="162" y="39"/>
              </a:cxn>
              <a:cxn ang="0">
                <a:pos x="161" y="41"/>
              </a:cxn>
              <a:cxn ang="0">
                <a:pos x="157" y="45"/>
              </a:cxn>
              <a:cxn ang="0">
                <a:pos x="156" y="47"/>
              </a:cxn>
              <a:cxn ang="0">
                <a:pos x="156" y="49"/>
              </a:cxn>
              <a:cxn ang="0">
                <a:pos x="157" y="50"/>
              </a:cxn>
              <a:cxn ang="0">
                <a:pos x="159" y="50"/>
              </a:cxn>
              <a:cxn ang="0">
                <a:pos x="163" y="51"/>
              </a:cxn>
              <a:cxn ang="0">
                <a:pos x="177" y="53"/>
              </a:cxn>
              <a:cxn ang="0">
                <a:pos x="200" y="55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78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5613400" y="1978026"/>
            <a:ext cx="84138" cy="73025"/>
          </a:xfrm>
          <a:custGeom>
            <a:avLst/>
            <a:gdLst/>
            <a:ahLst/>
            <a:cxnLst>
              <a:cxn ang="0">
                <a:pos x="0" y="112"/>
              </a:cxn>
              <a:cxn ang="0">
                <a:pos x="2" y="116"/>
              </a:cxn>
              <a:cxn ang="0">
                <a:pos x="3" y="107"/>
              </a:cxn>
              <a:cxn ang="0">
                <a:pos x="3" y="93"/>
              </a:cxn>
              <a:cxn ang="0">
                <a:pos x="9" y="82"/>
              </a:cxn>
              <a:cxn ang="0">
                <a:pos x="17" y="69"/>
              </a:cxn>
              <a:cxn ang="0">
                <a:pos x="20" y="56"/>
              </a:cxn>
              <a:cxn ang="0">
                <a:pos x="23" y="46"/>
              </a:cxn>
              <a:cxn ang="0">
                <a:pos x="28" y="37"/>
              </a:cxn>
              <a:cxn ang="0">
                <a:pos x="35" y="32"/>
              </a:cxn>
              <a:cxn ang="0">
                <a:pos x="41" y="38"/>
              </a:cxn>
              <a:cxn ang="0">
                <a:pos x="43" y="49"/>
              </a:cxn>
              <a:cxn ang="0">
                <a:pos x="47" y="58"/>
              </a:cxn>
              <a:cxn ang="0">
                <a:pos x="55" y="65"/>
              </a:cxn>
              <a:cxn ang="0">
                <a:pos x="87" y="67"/>
              </a:cxn>
              <a:cxn ang="0">
                <a:pos x="79" y="41"/>
              </a:cxn>
              <a:cxn ang="0">
                <a:pos x="69" y="36"/>
              </a:cxn>
              <a:cxn ang="0">
                <a:pos x="63" y="30"/>
              </a:cxn>
              <a:cxn ang="0">
                <a:pos x="61" y="23"/>
              </a:cxn>
              <a:cxn ang="0">
                <a:pos x="70" y="17"/>
              </a:cxn>
              <a:cxn ang="0">
                <a:pos x="87" y="14"/>
              </a:cxn>
              <a:cxn ang="0">
                <a:pos x="98" y="10"/>
              </a:cxn>
              <a:cxn ang="0">
                <a:pos x="111" y="6"/>
              </a:cxn>
              <a:cxn ang="0">
                <a:pos x="130" y="3"/>
              </a:cxn>
              <a:cxn ang="0">
                <a:pos x="147" y="1"/>
              </a:cxn>
              <a:cxn ang="0">
                <a:pos x="159" y="2"/>
              </a:cxn>
              <a:cxn ang="0">
                <a:pos x="176" y="1"/>
              </a:cxn>
              <a:cxn ang="0">
                <a:pos x="183" y="10"/>
              </a:cxn>
              <a:cxn ang="0">
                <a:pos x="178" y="26"/>
              </a:cxn>
              <a:cxn ang="0">
                <a:pos x="169" y="40"/>
              </a:cxn>
              <a:cxn ang="0">
                <a:pos x="159" y="51"/>
              </a:cxn>
              <a:cxn ang="0">
                <a:pos x="155" y="63"/>
              </a:cxn>
              <a:cxn ang="0">
                <a:pos x="153" y="76"/>
              </a:cxn>
              <a:cxn ang="0">
                <a:pos x="120" y="142"/>
              </a:cxn>
              <a:cxn ang="0">
                <a:pos x="80" y="122"/>
              </a:cxn>
              <a:cxn ang="0">
                <a:pos x="35" y="117"/>
              </a:cxn>
              <a:cxn ang="0">
                <a:pos x="8" y="11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79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5594350" y="2041525"/>
            <a:ext cx="84138" cy="57150"/>
          </a:xfrm>
          <a:custGeom>
            <a:avLst/>
            <a:gdLst/>
            <a:ahLst/>
            <a:cxnLst>
              <a:cxn ang="0">
                <a:pos x="192" y="61"/>
              </a:cxn>
              <a:cxn ang="0">
                <a:pos x="189" y="62"/>
              </a:cxn>
              <a:cxn ang="0">
                <a:pos x="184" y="63"/>
              </a:cxn>
              <a:cxn ang="0">
                <a:pos x="180" y="64"/>
              </a:cxn>
              <a:cxn ang="0">
                <a:pos x="177" y="67"/>
              </a:cxn>
              <a:cxn ang="0">
                <a:pos x="168" y="72"/>
              </a:cxn>
              <a:cxn ang="0">
                <a:pos x="160" y="79"/>
              </a:cxn>
              <a:cxn ang="0">
                <a:pos x="154" y="86"/>
              </a:cxn>
              <a:cxn ang="0">
                <a:pos x="147" y="93"/>
              </a:cxn>
              <a:cxn ang="0">
                <a:pos x="143" y="99"/>
              </a:cxn>
              <a:cxn ang="0">
                <a:pos x="139" y="105"/>
              </a:cxn>
              <a:cxn ang="0">
                <a:pos x="120" y="97"/>
              </a:cxn>
              <a:cxn ang="0">
                <a:pos x="102" y="89"/>
              </a:cxn>
              <a:cxn ang="0">
                <a:pos x="86" y="80"/>
              </a:cxn>
              <a:cxn ang="0">
                <a:pos x="69" y="71"/>
              </a:cxn>
              <a:cxn ang="0">
                <a:pos x="53" y="61"/>
              </a:cxn>
              <a:cxn ang="0">
                <a:pos x="36" y="53"/>
              </a:cxn>
              <a:cxn ang="0">
                <a:pos x="19" y="44"/>
              </a:cxn>
              <a:cxn ang="0">
                <a:pos x="0" y="37"/>
              </a:cxn>
              <a:cxn ang="0">
                <a:pos x="0" y="13"/>
              </a:cxn>
              <a:cxn ang="0">
                <a:pos x="7" y="7"/>
              </a:cxn>
              <a:cxn ang="0">
                <a:pos x="16" y="4"/>
              </a:cxn>
              <a:cxn ang="0">
                <a:pos x="29" y="1"/>
              </a:cxn>
              <a:cxn ang="0">
                <a:pos x="40" y="0"/>
              </a:cxn>
              <a:cxn ang="0">
                <a:pos x="60" y="2"/>
              </a:cxn>
              <a:cxn ang="0">
                <a:pos x="93" y="5"/>
              </a:cxn>
              <a:cxn ang="0">
                <a:pos x="111" y="7"/>
              </a:cxn>
              <a:cxn ang="0">
                <a:pos x="128" y="7"/>
              </a:cxn>
              <a:cxn ang="0">
                <a:pos x="143" y="7"/>
              </a:cxn>
              <a:cxn ang="0">
                <a:pos x="153" y="6"/>
              </a:cxn>
              <a:cxn ang="0">
                <a:pos x="155" y="11"/>
              </a:cxn>
              <a:cxn ang="0">
                <a:pos x="159" y="17"/>
              </a:cxn>
              <a:cxn ang="0">
                <a:pos x="161" y="20"/>
              </a:cxn>
              <a:cxn ang="0">
                <a:pos x="164" y="23"/>
              </a:cxn>
              <a:cxn ang="0">
                <a:pos x="165" y="27"/>
              </a:cxn>
              <a:cxn ang="0">
                <a:pos x="166" y="31"/>
              </a:cxn>
              <a:cxn ang="0">
                <a:pos x="170" y="32"/>
              </a:cxn>
              <a:cxn ang="0">
                <a:pos x="177" y="33"/>
              </a:cxn>
              <a:cxn ang="0">
                <a:pos x="180" y="34"/>
              </a:cxn>
              <a:cxn ang="0">
                <a:pos x="183" y="34"/>
              </a:cxn>
              <a:cxn ang="0">
                <a:pos x="188" y="33"/>
              </a:cxn>
              <a:cxn ang="0">
                <a:pos x="192" y="31"/>
              </a:cxn>
              <a:cxn ang="0">
                <a:pos x="192" y="61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80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6354764" y="2595563"/>
            <a:ext cx="33337" cy="131762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37" y="2"/>
              </a:cxn>
              <a:cxn ang="0">
                <a:pos x="40" y="4"/>
              </a:cxn>
              <a:cxn ang="0">
                <a:pos x="43" y="7"/>
              </a:cxn>
              <a:cxn ang="0">
                <a:pos x="46" y="10"/>
              </a:cxn>
              <a:cxn ang="0">
                <a:pos x="52" y="18"/>
              </a:cxn>
              <a:cxn ang="0">
                <a:pos x="56" y="25"/>
              </a:cxn>
              <a:cxn ang="0">
                <a:pos x="62" y="32"/>
              </a:cxn>
              <a:cxn ang="0">
                <a:pos x="67" y="38"/>
              </a:cxn>
              <a:cxn ang="0">
                <a:pos x="70" y="40"/>
              </a:cxn>
              <a:cxn ang="0">
                <a:pos x="73" y="42"/>
              </a:cxn>
              <a:cxn ang="0">
                <a:pos x="76" y="43"/>
              </a:cxn>
              <a:cxn ang="0">
                <a:pos x="80" y="44"/>
              </a:cxn>
              <a:cxn ang="0">
                <a:pos x="80" y="53"/>
              </a:cxn>
              <a:cxn ang="0">
                <a:pos x="80" y="62"/>
              </a:cxn>
              <a:cxn ang="0">
                <a:pos x="53" y="254"/>
              </a:cxn>
              <a:cxn ang="0">
                <a:pos x="0" y="93"/>
              </a:cxn>
              <a:cxn ang="0">
                <a:pos x="4" y="88"/>
              </a:cxn>
              <a:cxn ang="0">
                <a:pos x="11" y="71"/>
              </a:cxn>
              <a:cxn ang="0">
                <a:pos x="17" y="57"/>
              </a:cxn>
              <a:cxn ang="0">
                <a:pos x="22" y="41"/>
              </a:cxn>
              <a:cxn ang="0">
                <a:pos x="28" y="23"/>
              </a:cxn>
              <a:cxn ang="0">
                <a:pos x="33" y="0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81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6303963" y="2647951"/>
            <a:ext cx="69850" cy="130175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67" y="155"/>
              </a:cxn>
              <a:cxn ang="0">
                <a:pos x="121" y="259"/>
              </a:cxn>
              <a:cxn ang="0">
                <a:pos x="113" y="259"/>
              </a:cxn>
              <a:cxn ang="0">
                <a:pos x="107" y="257"/>
              </a:cxn>
              <a:cxn ang="0">
                <a:pos x="100" y="254"/>
              </a:cxn>
              <a:cxn ang="0">
                <a:pos x="95" y="251"/>
              </a:cxn>
              <a:cxn ang="0">
                <a:pos x="89" y="245"/>
              </a:cxn>
              <a:cxn ang="0">
                <a:pos x="85" y="240"/>
              </a:cxn>
              <a:cxn ang="0">
                <a:pos x="80" y="235"/>
              </a:cxn>
              <a:cxn ang="0">
                <a:pos x="76" y="229"/>
              </a:cxn>
              <a:cxn ang="0">
                <a:pos x="69" y="217"/>
              </a:cxn>
              <a:cxn ang="0">
                <a:pos x="65" y="205"/>
              </a:cxn>
              <a:cxn ang="0">
                <a:pos x="62" y="194"/>
              </a:cxn>
              <a:cxn ang="0">
                <a:pos x="62" y="185"/>
              </a:cxn>
              <a:cxn ang="0">
                <a:pos x="55" y="184"/>
              </a:cxn>
              <a:cxn ang="0">
                <a:pos x="51" y="183"/>
              </a:cxn>
              <a:cxn ang="0">
                <a:pos x="45" y="182"/>
              </a:cxn>
              <a:cxn ang="0">
                <a:pos x="42" y="180"/>
              </a:cxn>
              <a:cxn ang="0">
                <a:pos x="39" y="177"/>
              </a:cxn>
              <a:cxn ang="0">
                <a:pos x="36" y="174"/>
              </a:cxn>
              <a:cxn ang="0">
                <a:pos x="34" y="170"/>
              </a:cxn>
              <a:cxn ang="0">
                <a:pos x="32" y="167"/>
              </a:cxn>
              <a:cxn ang="0">
                <a:pos x="30" y="158"/>
              </a:cxn>
              <a:cxn ang="0">
                <a:pos x="29" y="149"/>
              </a:cxn>
              <a:cxn ang="0">
                <a:pos x="28" y="140"/>
              </a:cxn>
              <a:cxn ang="0">
                <a:pos x="28" y="129"/>
              </a:cxn>
              <a:cxn ang="0">
                <a:pos x="21" y="129"/>
              </a:cxn>
              <a:cxn ang="0">
                <a:pos x="16" y="127"/>
              </a:cxn>
              <a:cxn ang="0">
                <a:pos x="11" y="125"/>
              </a:cxn>
              <a:cxn ang="0">
                <a:pos x="7" y="121"/>
              </a:cxn>
              <a:cxn ang="0">
                <a:pos x="5" y="117"/>
              </a:cxn>
              <a:cxn ang="0">
                <a:pos x="2" y="112"/>
              </a:cxn>
              <a:cxn ang="0">
                <a:pos x="0" y="107"/>
              </a:cxn>
              <a:cxn ang="0">
                <a:pos x="0" y="101"/>
              </a:cxn>
              <a:cxn ang="0">
                <a:pos x="0" y="75"/>
              </a:cxn>
              <a:cxn ang="0">
                <a:pos x="1" y="50"/>
              </a:cxn>
              <a:cxn ang="0">
                <a:pos x="12" y="52"/>
              </a:cxn>
              <a:cxn ang="0">
                <a:pos x="22" y="53"/>
              </a:cxn>
              <a:cxn ang="0">
                <a:pos x="32" y="53"/>
              </a:cxn>
              <a:cxn ang="0">
                <a:pos x="42" y="52"/>
              </a:cxn>
              <a:cxn ang="0">
                <a:pos x="50" y="51"/>
              </a:cxn>
              <a:cxn ang="0">
                <a:pos x="58" y="49"/>
              </a:cxn>
              <a:cxn ang="0">
                <a:pos x="66" y="47"/>
              </a:cxn>
              <a:cxn ang="0">
                <a:pos x="73" y="44"/>
              </a:cxn>
              <a:cxn ang="0">
                <a:pos x="79" y="40"/>
              </a:cxn>
              <a:cxn ang="0">
                <a:pos x="86" y="36"/>
              </a:cxn>
              <a:cxn ang="0">
                <a:pos x="91" y="31"/>
              </a:cxn>
              <a:cxn ang="0">
                <a:pos x="97" y="26"/>
              </a:cxn>
              <a:cxn ang="0">
                <a:pos x="107" y="13"/>
              </a:cxn>
              <a:cxn ang="0">
                <a:pos x="114" y="0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82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5305425" y="1901826"/>
            <a:ext cx="96838" cy="144463"/>
          </a:xfrm>
          <a:custGeom>
            <a:avLst/>
            <a:gdLst/>
            <a:ahLst/>
            <a:cxnLst>
              <a:cxn ang="0">
                <a:pos x="185" y="67"/>
              </a:cxn>
              <a:cxn ang="0">
                <a:pos x="173" y="78"/>
              </a:cxn>
              <a:cxn ang="0">
                <a:pos x="159" y="82"/>
              </a:cxn>
              <a:cxn ang="0">
                <a:pos x="163" y="93"/>
              </a:cxn>
              <a:cxn ang="0">
                <a:pos x="174" y="101"/>
              </a:cxn>
              <a:cxn ang="0">
                <a:pos x="195" y="105"/>
              </a:cxn>
              <a:cxn ang="0">
                <a:pos x="225" y="106"/>
              </a:cxn>
              <a:cxn ang="0">
                <a:pos x="225" y="152"/>
              </a:cxn>
              <a:cxn ang="0">
                <a:pos x="224" y="176"/>
              </a:cxn>
              <a:cxn ang="0">
                <a:pos x="215" y="187"/>
              </a:cxn>
              <a:cxn ang="0">
                <a:pos x="197" y="205"/>
              </a:cxn>
              <a:cxn ang="0">
                <a:pos x="192" y="214"/>
              </a:cxn>
              <a:cxn ang="0">
                <a:pos x="179" y="218"/>
              </a:cxn>
              <a:cxn ang="0">
                <a:pos x="164" y="225"/>
              </a:cxn>
              <a:cxn ang="0">
                <a:pos x="159" y="236"/>
              </a:cxn>
              <a:cxn ang="0">
                <a:pos x="140" y="242"/>
              </a:cxn>
              <a:cxn ang="0">
                <a:pos x="128" y="252"/>
              </a:cxn>
              <a:cxn ang="0">
                <a:pos x="101" y="255"/>
              </a:cxn>
              <a:cxn ang="0">
                <a:pos x="60" y="261"/>
              </a:cxn>
              <a:cxn ang="0">
                <a:pos x="19" y="261"/>
              </a:cxn>
              <a:cxn ang="0">
                <a:pos x="0" y="217"/>
              </a:cxn>
              <a:cxn ang="0">
                <a:pos x="21" y="212"/>
              </a:cxn>
              <a:cxn ang="0">
                <a:pos x="26" y="205"/>
              </a:cxn>
              <a:cxn ang="0">
                <a:pos x="60" y="202"/>
              </a:cxn>
              <a:cxn ang="0">
                <a:pos x="72" y="193"/>
              </a:cxn>
              <a:cxn ang="0">
                <a:pos x="48" y="198"/>
              </a:cxn>
              <a:cxn ang="0">
                <a:pos x="40" y="197"/>
              </a:cxn>
              <a:cxn ang="0">
                <a:pos x="39" y="188"/>
              </a:cxn>
              <a:cxn ang="0">
                <a:pos x="46" y="173"/>
              </a:cxn>
              <a:cxn ang="0">
                <a:pos x="39" y="160"/>
              </a:cxn>
              <a:cxn ang="0">
                <a:pos x="14" y="150"/>
              </a:cxn>
              <a:cxn ang="0">
                <a:pos x="6" y="130"/>
              </a:cxn>
              <a:cxn ang="0">
                <a:pos x="22" y="115"/>
              </a:cxn>
              <a:cxn ang="0">
                <a:pos x="35" y="102"/>
              </a:cxn>
              <a:cxn ang="0">
                <a:pos x="68" y="94"/>
              </a:cxn>
              <a:cxn ang="0">
                <a:pos x="90" y="94"/>
              </a:cxn>
              <a:cxn ang="0">
                <a:pos x="100" y="88"/>
              </a:cxn>
              <a:cxn ang="0">
                <a:pos x="108" y="52"/>
              </a:cxn>
              <a:cxn ang="0">
                <a:pos x="120" y="31"/>
              </a:cxn>
              <a:cxn ang="0">
                <a:pos x="130" y="20"/>
              </a:cxn>
              <a:cxn ang="0">
                <a:pos x="141" y="7"/>
              </a:cxn>
              <a:cxn ang="0">
                <a:pos x="155" y="1"/>
              </a:cxn>
              <a:cxn ang="0">
                <a:pos x="179" y="3"/>
              </a:cxn>
              <a:cxn ang="0">
                <a:pos x="195" y="38"/>
              </a:cxn>
              <a:cxn ang="0">
                <a:pos x="196" y="47"/>
              </a:cxn>
              <a:cxn ang="0">
                <a:pos x="190" y="56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83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5118100" y="2813051"/>
            <a:ext cx="306388" cy="390525"/>
          </a:xfrm>
          <a:custGeom>
            <a:avLst/>
            <a:gdLst/>
            <a:ahLst/>
            <a:cxnLst>
              <a:cxn ang="0">
                <a:pos x="94" y="246"/>
              </a:cxn>
              <a:cxn ang="0">
                <a:pos x="96" y="243"/>
              </a:cxn>
              <a:cxn ang="0">
                <a:pos x="98" y="238"/>
              </a:cxn>
              <a:cxn ang="0">
                <a:pos x="100" y="232"/>
              </a:cxn>
              <a:cxn ang="0">
                <a:pos x="103" y="231"/>
              </a:cxn>
              <a:cxn ang="0">
                <a:pos x="104" y="238"/>
              </a:cxn>
              <a:cxn ang="0">
                <a:pos x="106" y="241"/>
              </a:cxn>
              <a:cxn ang="0">
                <a:pos x="108" y="242"/>
              </a:cxn>
              <a:cxn ang="0">
                <a:pos x="110" y="242"/>
              </a:cxn>
              <a:cxn ang="0">
                <a:pos x="113" y="241"/>
              </a:cxn>
              <a:cxn ang="0">
                <a:pos x="116" y="238"/>
              </a:cxn>
              <a:cxn ang="0">
                <a:pos x="216" y="234"/>
              </a:cxn>
              <a:cxn ang="0">
                <a:pos x="213" y="204"/>
              </a:cxn>
              <a:cxn ang="0">
                <a:pos x="207" y="138"/>
              </a:cxn>
              <a:cxn ang="0">
                <a:pos x="201" y="73"/>
              </a:cxn>
              <a:cxn ang="0">
                <a:pos x="198" y="43"/>
              </a:cxn>
              <a:cxn ang="0">
                <a:pos x="215" y="44"/>
              </a:cxn>
              <a:cxn ang="0">
                <a:pos x="232" y="46"/>
              </a:cxn>
              <a:cxn ang="0">
                <a:pos x="161" y="2"/>
              </a:cxn>
              <a:cxn ang="0">
                <a:pos x="160" y="8"/>
              </a:cxn>
              <a:cxn ang="0">
                <a:pos x="161" y="18"/>
              </a:cxn>
              <a:cxn ang="0">
                <a:pos x="98" y="24"/>
              </a:cxn>
              <a:cxn ang="0">
                <a:pos x="98" y="74"/>
              </a:cxn>
              <a:cxn ang="0">
                <a:pos x="95" y="76"/>
              </a:cxn>
              <a:cxn ang="0">
                <a:pos x="87" y="78"/>
              </a:cxn>
              <a:cxn ang="0">
                <a:pos x="72" y="82"/>
              </a:cxn>
              <a:cxn ang="0">
                <a:pos x="74" y="88"/>
              </a:cxn>
              <a:cxn ang="0">
                <a:pos x="78" y="96"/>
              </a:cxn>
              <a:cxn ang="0">
                <a:pos x="80" y="105"/>
              </a:cxn>
              <a:cxn ang="0">
                <a:pos x="81" y="115"/>
              </a:cxn>
              <a:cxn ang="0">
                <a:pos x="9" y="119"/>
              </a:cxn>
              <a:cxn ang="0">
                <a:pos x="5" y="130"/>
              </a:cxn>
              <a:cxn ang="0">
                <a:pos x="6" y="143"/>
              </a:cxn>
              <a:cxn ang="0">
                <a:pos x="8" y="155"/>
              </a:cxn>
              <a:cxn ang="0">
                <a:pos x="9" y="168"/>
              </a:cxn>
              <a:cxn ang="0">
                <a:pos x="9" y="182"/>
              </a:cxn>
              <a:cxn ang="0">
                <a:pos x="8" y="194"/>
              </a:cxn>
              <a:cxn ang="0">
                <a:pos x="6" y="206"/>
              </a:cxn>
              <a:cxn ang="0">
                <a:pos x="2" y="216"/>
              </a:cxn>
              <a:cxn ang="0">
                <a:pos x="2" y="219"/>
              </a:cxn>
              <a:cxn ang="0">
                <a:pos x="3" y="220"/>
              </a:cxn>
              <a:cxn ang="0">
                <a:pos x="3" y="222"/>
              </a:cxn>
              <a:cxn ang="0">
                <a:pos x="7" y="217"/>
              </a:cxn>
              <a:cxn ang="0">
                <a:pos x="18" y="213"/>
              </a:cxn>
              <a:cxn ang="0">
                <a:pos x="36" y="207"/>
              </a:cxn>
              <a:cxn ang="0">
                <a:pos x="45" y="208"/>
              </a:cxn>
              <a:cxn ang="0">
                <a:pos x="51" y="212"/>
              </a:cxn>
              <a:cxn ang="0">
                <a:pos x="56" y="214"/>
              </a:cxn>
              <a:cxn ang="0">
                <a:pos x="62" y="215"/>
              </a:cxn>
              <a:cxn ang="0">
                <a:pos x="66" y="219"/>
              </a:cxn>
              <a:cxn ang="0">
                <a:pos x="67" y="225"/>
              </a:cxn>
              <a:cxn ang="0">
                <a:pos x="70" y="231"/>
              </a:cxn>
              <a:cxn ang="0">
                <a:pos x="74" y="235"/>
              </a:cxn>
              <a:cxn ang="0">
                <a:pos x="85" y="243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84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5233989" y="2873376"/>
            <a:ext cx="414337" cy="468313"/>
          </a:xfrm>
          <a:custGeom>
            <a:avLst/>
            <a:gdLst/>
            <a:ahLst/>
            <a:cxnLst>
              <a:cxn ang="0">
                <a:pos x="90" y="788"/>
              </a:cxn>
              <a:cxn ang="0">
                <a:pos x="121" y="788"/>
              </a:cxn>
              <a:cxn ang="0">
                <a:pos x="146" y="783"/>
              </a:cxn>
              <a:cxn ang="0">
                <a:pos x="186" y="776"/>
              </a:cxn>
              <a:cxn ang="0">
                <a:pos x="197" y="813"/>
              </a:cxn>
              <a:cxn ang="0">
                <a:pos x="212" y="835"/>
              </a:cxn>
              <a:cxn ang="0">
                <a:pos x="226" y="846"/>
              </a:cxn>
              <a:cxn ang="0">
                <a:pos x="246" y="850"/>
              </a:cxn>
              <a:cxn ang="0">
                <a:pos x="246" y="881"/>
              </a:cxn>
              <a:cxn ang="0">
                <a:pos x="326" y="889"/>
              </a:cxn>
              <a:cxn ang="0">
                <a:pos x="334" y="876"/>
              </a:cxn>
              <a:cxn ang="0">
                <a:pos x="347" y="871"/>
              </a:cxn>
              <a:cxn ang="0">
                <a:pos x="348" y="888"/>
              </a:cxn>
              <a:cxn ang="0">
                <a:pos x="358" y="893"/>
              </a:cxn>
              <a:cxn ang="0">
                <a:pos x="385" y="893"/>
              </a:cxn>
              <a:cxn ang="0">
                <a:pos x="401" y="854"/>
              </a:cxn>
              <a:cxn ang="0">
                <a:pos x="412" y="788"/>
              </a:cxn>
              <a:cxn ang="0">
                <a:pos x="424" y="771"/>
              </a:cxn>
              <a:cxn ang="0">
                <a:pos x="452" y="754"/>
              </a:cxn>
              <a:cxn ang="0">
                <a:pos x="485" y="743"/>
              </a:cxn>
              <a:cxn ang="0">
                <a:pos x="501" y="729"/>
              </a:cxn>
              <a:cxn ang="0">
                <a:pos x="515" y="702"/>
              </a:cxn>
              <a:cxn ang="0">
                <a:pos x="535" y="668"/>
              </a:cxn>
              <a:cxn ang="0">
                <a:pos x="547" y="660"/>
              </a:cxn>
              <a:cxn ang="0">
                <a:pos x="572" y="659"/>
              </a:cxn>
              <a:cxn ang="0">
                <a:pos x="605" y="644"/>
              </a:cxn>
              <a:cxn ang="0">
                <a:pos x="639" y="624"/>
              </a:cxn>
              <a:cxn ang="0">
                <a:pos x="674" y="613"/>
              </a:cxn>
              <a:cxn ang="0">
                <a:pos x="724" y="610"/>
              </a:cxn>
              <a:cxn ang="0">
                <a:pos x="788" y="602"/>
              </a:cxn>
              <a:cxn ang="0">
                <a:pos x="815" y="594"/>
              </a:cxn>
              <a:cxn ang="0">
                <a:pos x="863" y="590"/>
              </a:cxn>
              <a:cxn ang="0">
                <a:pos x="901" y="583"/>
              </a:cxn>
              <a:cxn ang="0">
                <a:pos x="913" y="574"/>
              </a:cxn>
              <a:cxn ang="0">
                <a:pos x="931" y="544"/>
              </a:cxn>
              <a:cxn ang="0">
                <a:pos x="943" y="504"/>
              </a:cxn>
              <a:cxn ang="0">
                <a:pos x="948" y="461"/>
              </a:cxn>
              <a:cxn ang="0">
                <a:pos x="947" y="421"/>
              </a:cxn>
              <a:cxn ang="0">
                <a:pos x="943" y="363"/>
              </a:cxn>
              <a:cxn ang="0">
                <a:pos x="922" y="356"/>
              </a:cxn>
              <a:cxn ang="0">
                <a:pos x="862" y="322"/>
              </a:cxn>
              <a:cxn ang="0">
                <a:pos x="794" y="278"/>
              </a:cxn>
              <a:cxn ang="0">
                <a:pos x="738" y="216"/>
              </a:cxn>
              <a:cxn ang="0">
                <a:pos x="412" y="12"/>
              </a:cxn>
              <a:cxn ang="0">
                <a:pos x="348" y="102"/>
              </a:cxn>
              <a:cxn ang="0">
                <a:pos x="379" y="405"/>
              </a:cxn>
              <a:cxn ang="0">
                <a:pos x="392" y="565"/>
              </a:cxn>
              <a:cxn ang="0">
                <a:pos x="93" y="591"/>
              </a:cxn>
              <a:cxn ang="0">
                <a:pos x="79" y="606"/>
              </a:cxn>
              <a:cxn ang="0">
                <a:pos x="67" y="610"/>
              </a:cxn>
              <a:cxn ang="0">
                <a:pos x="57" y="607"/>
              </a:cxn>
              <a:cxn ang="0">
                <a:pos x="49" y="591"/>
              </a:cxn>
              <a:cxn ang="0">
                <a:pos x="40" y="581"/>
              </a:cxn>
              <a:cxn ang="0">
                <a:pos x="29" y="605"/>
              </a:cxn>
              <a:cxn ang="0">
                <a:pos x="15" y="623"/>
              </a:cxn>
              <a:cxn ang="0">
                <a:pos x="67" y="733"/>
              </a:cxn>
              <a:cxn ang="0">
                <a:pos x="61" y="748"/>
              </a:cxn>
              <a:cxn ang="0">
                <a:pos x="62" y="760"/>
              </a:cxn>
              <a:cxn ang="0">
                <a:pos x="54" y="788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85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5332413" y="2479675"/>
            <a:ext cx="493712" cy="579438"/>
          </a:xfrm>
          <a:custGeom>
            <a:avLst/>
            <a:gdLst/>
            <a:ahLst/>
            <a:cxnLst>
              <a:cxn ang="0">
                <a:pos x="238" y="367"/>
              </a:cxn>
              <a:cxn ang="0">
                <a:pos x="244" y="365"/>
              </a:cxn>
              <a:cxn ang="0">
                <a:pos x="255" y="368"/>
              </a:cxn>
              <a:cxn ang="0">
                <a:pos x="372" y="277"/>
              </a:cxn>
              <a:cxn ang="0">
                <a:pos x="369" y="270"/>
              </a:cxn>
              <a:cxn ang="0">
                <a:pos x="361" y="264"/>
              </a:cxn>
              <a:cxn ang="0">
                <a:pos x="347" y="259"/>
              </a:cxn>
              <a:cxn ang="0">
                <a:pos x="339" y="254"/>
              </a:cxn>
              <a:cxn ang="0">
                <a:pos x="336" y="247"/>
              </a:cxn>
              <a:cxn ang="0">
                <a:pos x="337" y="228"/>
              </a:cxn>
              <a:cxn ang="0">
                <a:pos x="337" y="196"/>
              </a:cxn>
              <a:cxn ang="0">
                <a:pos x="334" y="168"/>
              </a:cxn>
              <a:cxn ang="0">
                <a:pos x="329" y="155"/>
              </a:cxn>
              <a:cxn ang="0">
                <a:pos x="323" y="142"/>
              </a:cxn>
              <a:cxn ang="0">
                <a:pos x="315" y="109"/>
              </a:cxn>
              <a:cxn ang="0">
                <a:pos x="306" y="90"/>
              </a:cxn>
              <a:cxn ang="0">
                <a:pos x="297" y="78"/>
              </a:cxn>
              <a:cxn ang="0">
                <a:pos x="300" y="63"/>
              </a:cxn>
              <a:cxn ang="0">
                <a:pos x="301" y="43"/>
              </a:cxn>
              <a:cxn ang="0">
                <a:pos x="302" y="23"/>
              </a:cxn>
              <a:cxn ang="0">
                <a:pos x="310" y="7"/>
              </a:cxn>
              <a:cxn ang="0">
                <a:pos x="302" y="6"/>
              </a:cxn>
              <a:cxn ang="0">
                <a:pos x="278" y="12"/>
              </a:cxn>
              <a:cxn ang="0">
                <a:pos x="245" y="12"/>
              </a:cxn>
              <a:cxn ang="0">
                <a:pos x="206" y="14"/>
              </a:cxn>
              <a:cxn ang="0">
                <a:pos x="168" y="24"/>
              </a:cxn>
              <a:cxn ang="0">
                <a:pos x="145" y="32"/>
              </a:cxn>
              <a:cxn ang="0">
                <a:pos x="124" y="44"/>
              </a:cxn>
              <a:cxn ang="0">
                <a:pos x="123" y="52"/>
              </a:cxn>
              <a:cxn ang="0">
                <a:pos x="131" y="89"/>
              </a:cxn>
              <a:cxn ang="0">
                <a:pos x="134" y="93"/>
              </a:cxn>
              <a:cxn ang="0">
                <a:pos x="141" y="98"/>
              </a:cxn>
              <a:cxn ang="0">
                <a:pos x="142" y="102"/>
              </a:cxn>
              <a:cxn ang="0">
                <a:pos x="139" y="107"/>
              </a:cxn>
              <a:cxn ang="0">
                <a:pos x="128" y="107"/>
              </a:cxn>
              <a:cxn ang="0">
                <a:pos x="106" y="113"/>
              </a:cxn>
              <a:cxn ang="0">
                <a:pos x="95" y="122"/>
              </a:cxn>
              <a:cxn ang="0">
                <a:pos x="90" y="131"/>
              </a:cxn>
              <a:cxn ang="0">
                <a:pos x="82" y="137"/>
              </a:cxn>
              <a:cxn ang="0">
                <a:pos x="66" y="150"/>
              </a:cxn>
              <a:cxn ang="0">
                <a:pos x="51" y="158"/>
              </a:cxn>
              <a:cxn ang="0">
                <a:pos x="31" y="160"/>
              </a:cxn>
              <a:cxn ang="0">
                <a:pos x="20" y="164"/>
              </a:cxn>
              <a:cxn ang="0">
                <a:pos x="8" y="174"/>
              </a:cxn>
              <a:cxn ang="0">
                <a:pos x="0" y="200"/>
              </a:cxn>
              <a:cxn ang="0">
                <a:pos x="179" y="331"/>
              </a:cxn>
              <a:cxn ang="0">
                <a:pos x="201" y="352"/>
              </a:cxn>
              <a:cxn ang="0">
                <a:pos x="229" y="368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86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5768976" y="2614613"/>
            <a:ext cx="384175" cy="436562"/>
          </a:xfrm>
          <a:custGeom>
            <a:avLst/>
            <a:gdLst/>
            <a:ahLst/>
            <a:cxnLst>
              <a:cxn ang="0">
                <a:pos x="36" y="141"/>
              </a:cxn>
              <a:cxn ang="0">
                <a:pos x="46" y="109"/>
              </a:cxn>
              <a:cxn ang="0">
                <a:pos x="46" y="70"/>
              </a:cxn>
              <a:cxn ang="0">
                <a:pos x="61" y="64"/>
              </a:cxn>
              <a:cxn ang="0">
                <a:pos x="89" y="55"/>
              </a:cxn>
              <a:cxn ang="0">
                <a:pos x="99" y="20"/>
              </a:cxn>
              <a:cxn ang="0">
                <a:pos x="168" y="6"/>
              </a:cxn>
              <a:cxn ang="0">
                <a:pos x="242" y="24"/>
              </a:cxn>
              <a:cxn ang="0">
                <a:pos x="273" y="43"/>
              </a:cxn>
              <a:cxn ang="0">
                <a:pos x="285" y="78"/>
              </a:cxn>
              <a:cxn ang="0">
                <a:pos x="295" y="101"/>
              </a:cxn>
              <a:cxn ang="0">
                <a:pos x="325" y="110"/>
              </a:cxn>
              <a:cxn ang="0">
                <a:pos x="363" y="109"/>
              </a:cxn>
              <a:cxn ang="0">
                <a:pos x="421" y="133"/>
              </a:cxn>
              <a:cxn ang="0">
                <a:pos x="478" y="162"/>
              </a:cxn>
              <a:cxn ang="0">
                <a:pos x="513" y="166"/>
              </a:cxn>
              <a:cxn ang="0">
                <a:pos x="538" y="158"/>
              </a:cxn>
              <a:cxn ang="0">
                <a:pos x="549" y="126"/>
              </a:cxn>
              <a:cxn ang="0">
                <a:pos x="544" y="103"/>
              </a:cxn>
              <a:cxn ang="0">
                <a:pos x="531" y="81"/>
              </a:cxn>
              <a:cxn ang="0">
                <a:pos x="539" y="49"/>
              </a:cxn>
              <a:cxn ang="0">
                <a:pos x="574" y="34"/>
              </a:cxn>
              <a:cxn ang="0">
                <a:pos x="617" y="4"/>
              </a:cxn>
              <a:cxn ang="0">
                <a:pos x="650" y="0"/>
              </a:cxn>
              <a:cxn ang="0">
                <a:pos x="681" y="6"/>
              </a:cxn>
              <a:cxn ang="0">
                <a:pos x="695" y="24"/>
              </a:cxn>
              <a:cxn ang="0">
                <a:pos x="706" y="50"/>
              </a:cxn>
              <a:cxn ang="0">
                <a:pos x="728" y="63"/>
              </a:cxn>
              <a:cxn ang="0">
                <a:pos x="798" y="71"/>
              </a:cxn>
              <a:cxn ang="0">
                <a:pos x="830" y="97"/>
              </a:cxn>
              <a:cxn ang="0">
                <a:pos x="834" y="117"/>
              </a:cxn>
              <a:cxn ang="0">
                <a:pos x="843" y="140"/>
              </a:cxn>
              <a:cxn ang="0">
                <a:pos x="836" y="159"/>
              </a:cxn>
              <a:cxn ang="0">
                <a:pos x="824" y="170"/>
              </a:cxn>
              <a:cxn ang="0">
                <a:pos x="829" y="207"/>
              </a:cxn>
              <a:cxn ang="0">
                <a:pos x="858" y="245"/>
              </a:cxn>
              <a:cxn ang="0">
                <a:pos x="876" y="687"/>
              </a:cxn>
              <a:cxn ang="0">
                <a:pos x="877" y="741"/>
              </a:cxn>
              <a:cxn ang="0">
                <a:pos x="870" y="775"/>
              </a:cxn>
              <a:cxn ang="0">
                <a:pos x="848" y="783"/>
              </a:cxn>
              <a:cxn ang="0">
                <a:pos x="830" y="804"/>
              </a:cxn>
              <a:cxn ang="0">
                <a:pos x="366" y="593"/>
              </a:cxn>
              <a:cxn ang="0">
                <a:pos x="331" y="607"/>
              </a:cxn>
              <a:cxn ang="0">
                <a:pos x="292" y="626"/>
              </a:cxn>
              <a:cxn ang="0">
                <a:pos x="263" y="627"/>
              </a:cxn>
              <a:cxn ang="0">
                <a:pos x="230" y="609"/>
              </a:cxn>
              <a:cxn ang="0">
                <a:pos x="193" y="586"/>
              </a:cxn>
              <a:cxn ang="0">
                <a:pos x="152" y="578"/>
              </a:cxn>
              <a:cxn ang="0">
                <a:pos x="138" y="577"/>
              </a:cxn>
              <a:cxn ang="0">
                <a:pos x="130" y="553"/>
              </a:cxn>
              <a:cxn ang="0">
                <a:pos x="109" y="535"/>
              </a:cxn>
              <a:cxn ang="0">
                <a:pos x="63" y="517"/>
              </a:cxn>
              <a:cxn ang="0">
                <a:pos x="28" y="499"/>
              </a:cxn>
              <a:cxn ang="0">
                <a:pos x="16" y="482"/>
              </a:cxn>
              <a:cxn ang="0">
                <a:pos x="14" y="439"/>
              </a:cxn>
              <a:cxn ang="0">
                <a:pos x="19" y="352"/>
              </a:cxn>
              <a:cxn ang="0">
                <a:pos x="17" y="258"/>
              </a:cxn>
              <a:cxn ang="0">
                <a:pos x="4" y="202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87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5721351" y="2479675"/>
            <a:ext cx="93663" cy="236538"/>
          </a:xfrm>
          <a:custGeom>
            <a:avLst/>
            <a:gdLst/>
            <a:ahLst/>
            <a:cxnLst>
              <a:cxn ang="0">
                <a:pos x="103" y="441"/>
              </a:cxn>
              <a:cxn ang="0">
                <a:pos x="125" y="420"/>
              </a:cxn>
              <a:cxn ang="0">
                <a:pos x="140" y="404"/>
              </a:cxn>
              <a:cxn ang="0">
                <a:pos x="147" y="390"/>
              </a:cxn>
              <a:cxn ang="0">
                <a:pos x="152" y="373"/>
              </a:cxn>
              <a:cxn ang="0">
                <a:pos x="154" y="352"/>
              </a:cxn>
              <a:cxn ang="0">
                <a:pos x="153" y="335"/>
              </a:cxn>
              <a:cxn ang="0">
                <a:pos x="156" y="331"/>
              </a:cxn>
              <a:cxn ang="0">
                <a:pos x="168" y="329"/>
              </a:cxn>
              <a:cxn ang="0">
                <a:pos x="185" y="325"/>
              </a:cxn>
              <a:cxn ang="0">
                <a:pos x="196" y="318"/>
              </a:cxn>
              <a:cxn ang="0">
                <a:pos x="203" y="304"/>
              </a:cxn>
              <a:cxn ang="0">
                <a:pos x="206" y="280"/>
              </a:cxn>
              <a:cxn ang="0">
                <a:pos x="202" y="265"/>
              </a:cxn>
              <a:cxn ang="0">
                <a:pos x="193" y="264"/>
              </a:cxn>
              <a:cxn ang="0">
                <a:pos x="177" y="256"/>
              </a:cxn>
              <a:cxn ang="0">
                <a:pos x="155" y="242"/>
              </a:cxn>
              <a:cxn ang="0">
                <a:pos x="140" y="231"/>
              </a:cxn>
              <a:cxn ang="0">
                <a:pos x="130" y="228"/>
              </a:cxn>
              <a:cxn ang="0">
                <a:pos x="119" y="222"/>
              </a:cxn>
              <a:cxn ang="0">
                <a:pos x="101" y="212"/>
              </a:cxn>
              <a:cxn ang="0">
                <a:pos x="95" y="206"/>
              </a:cxn>
              <a:cxn ang="0">
                <a:pos x="95" y="199"/>
              </a:cxn>
              <a:cxn ang="0">
                <a:pos x="104" y="181"/>
              </a:cxn>
              <a:cxn ang="0">
                <a:pos x="119" y="158"/>
              </a:cxn>
              <a:cxn ang="0">
                <a:pos x="134" y="140"/>
              </a:cxn>
              <a:cxn ang="0">
                <a:pos x="136" y="129"/>
              </a:cxn>
              <a:cxn ang="0">
                <a:pos x="126" y="116"/>
              </a:cxn>
              <a:cxn ang="0">
                <a:pos x="115" y="105"/>
              </a:cxn>
              <a:cxn ang="0">
                <a:pos x="108" y="93"/>
              </a:cxn>
              <a:cxn ang="0">
                <a:pos x="107" y="84"/>
              </a:cxn>
              <a:cxn ang="0">
                <a:pos x="111" y="78"/>
              </a:cxn>
              <a:cxn ang="0">
                <a:pos x="116" y="72"/>
              </a:cxn>
              <a:cxn ang="0">
                <a:pos x="123" y="69"/>
              </a:cxn>
              <a:cxn ang="0">
                <a:pos x="126" y="37"/>
              </a:cxn>
              <a:cxn ang="0">
                <a:pos x="110" y="32"/>
              </a:cxn>
              <a:cxn ang="0">
                <a:pos x="87" y="21"/>
              </a:cxn>
              <a:cxn ang="0">
                <a:pos x="53" y="0"/>
              </a:cxn>
              <a:cxn ang="0">
                <a:pos x="47" y="11"/>
              </a:cxn>
              <a:cxn ang="0">
                <a:pos x="34" y="44"/>
              </a:cxn>
              <a:cxn ang="0">
                <a:pos x="28" y="70"/>
              </a:cxn>
              <a:cxn ang="0">
                <a:pos x="22" y="99"/>
              </a:cxn>
              <a:cxn ang="0">
                <a:pos x="20" y="133"/>
              </a:cxn>
              <a:cxn ang="0">
                <a:pos x="20" y="172"/>
              </a:cxn>
              <a:cxn ang="0">
                <a:pos x="12" y="188"/>
              </a:cxn>
              <a:cxn ang="0">
                <a:pos x="8" y="206"/>
              </a:cxn>
              <a:cxn ang="0">
                <a:pos x="0" y="235"/>
              </a:cxn>
              <a:cxn ang="0">
                <a:pos x="22" y="259"/>
              </a:cxn>
              <a:cxn ang="0">
                <a:pos x="41" y="281"/>
              </a:cxn>
              <a:cxn ang="0">
                <a:pos x="55" y="305"/>
              </a:cxn>
              <a:cxn ang="0">
                <a:pos x="66" y="329"/>
              </a:cxn>
              <a:cxn ang="0">
                <a:pos x="75" y="355"/>
              </a:cxn>
              <a:cxn ang="0">
                <a:pos x="82" y="384"/>
              </a:cxn>
              <a:cxn ang="0">
                <a:pos x="93" y="455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88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5103814" y="2790825"/>
            <a:ext cx="231775" cy="215900"/>
          </a:xfrm>
          <a:custGeom>
            <a:avLst/>
            <a:gdLst/>
            <a:ahLst/>
            <a:cxnLst>
              <a:cxn ang="0">
                <a:pos x="326" y="110"/>
              </a:cxn>
              <a:cxn ang="0">
                <a:pos x="326" y="259"/>
              </a:cxn>
              <a:cxn ang="0">
                <a:pos x="315" y="264"/>
              </a:cxn>
              <a:cxn ang="0">
                <a:pos x="291" y="271"/>
              </a:cxn>
              <a:cxn ang="0">
                <a:pos x="246" y="283"/>
              </a:cxn>
              <a:cxn ang="0">
                <a:pos x="253" y="302"/>
              </a:cxn>
              <a:cxn ang="0">
                <a:pos x="265" y="326"/>
              </a:cxn>
              <a:cxn ang="0">
                <a:pos x="269" y="353"/>
              </a:cxn>
              <a:cxn ang="0">
                <a:pos x="272" y="382"/>
              </a:cxn>
              <a:cxn ang="0">
                <a:pos x="52" y="394"/>
              </a:cxn>
              <a:cxn ang="0">
                <a:pos x="22" y="406"/>
              </a:cxn>
              <a:cxn ang="0">
                <a:pos x="5" y="403"/>
              </a:cxn>
              <a:cxn ang="0">
                <a:pos x="1" y="398"/>
              </a:cxn>
              <a:cxn ang="0">
                <a:pos x="1" y="385"/>
              </a:cxn>
              <a:cxn ang="0">
                <a:pos x="4" y="371"/>
              </a:cxn>
              <a:cxn ang="0">
                <a:pos x="11" y="354"/>
              </a:cxn>
              <a:cxn ang="0">
                <a:pos x="20" y="341"/>
              </a:cxn>
              <a:cxn ang="0">
                <a:pos x="30" y="334"/>
              </a:cxn>
              <a:cxn ang="0">
                <a:pos x="38" y="326"/>
              </a:cxn>
              <a:cxn ang="0">
                <a:pos x="44" y="317"/>
              </a:cxn>
              <a:cxn ang="0">
                <a:pos x="49" y="292"/>
              </a:cxn>
              <a:cxn ang="0">
                <a:pos x="56" y="265"/>
              </a:cxn>
              <a:cxn ang="0">
                <a:pos x="62" y="257"/>
              </a:cxn>
              <a:cxn ang="0">
                <a:pos x="74" y="246"/>
              </a:cxn>
              <a:cxn ang="0">
                <a:pos x="92" y="238"/>
              </a:cxn>
              <a:cxn ang="0">
                <a:pos x="107" y="231"/>
              </a:cxn>
              <a:cxn ang="0">
                <a:pos x="122" y="218"/>
              </a:cxn>
              <a:cxn ang="0">
                <a:pos x="136" y="195"/>
              </a:cxn>
              <a:cxn ang="0">
                <a:pos x="150" y="156"/>
              </a:cxn>
              <a:cxn ang="0">
                <a:pos x="162" y="117"/>
              </a:cxn>
              <a:cxn ang="0">
                <a:pos x="172" y="94"/>
              </a:cxn>
              <a:cxn ang="0">
                <a:pos x="186" y="73"/>
              </a:cxn>
              <a:cxn ang="0">
                <a:pos x="201" y="62"/>
              </a:cxn>
              <a:cxn ang="0">
                <a:pos x="213" y="57"/>
              </a:cxn>
              <a:cxn ang="0">
                <a:pos x="219" y="44"/>
              </a:cxn>
              <a:cxn ang="0">
                <a:pos x="223" y="28"/>
              </a:cxn>
              <a:cxn ang="0">
                <a:pos x="228" y="16"/>
              </a:cxn>
              <a:cxn ang="0">
                <a:pos x="239" y="8"/>
              </a:cxn>
              <a:cxn ang="0">
                <a:pos x="511" y="0"/>
              </a:cxn>
              <a:cxn ang="0">
                <a:pos x="515" y="46"/>
              </a:cxn>
              <a:cxn ang="0">
                <a:pos x="518" y="110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89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5072063" y="1598613"/>
            <a:ext cx="190500" cy="93662"/>
          </a:xfrm>
          <a:custGeom>
            <a:avLst/>
            <a:gdLst/>
            <a:ahLst/>
            <a:cxnLst>
              <a:cxn ang="0">
                <a:pos x="34" y="61"/>
              </a:cxn>
              <a:cxn ang="0">
                <a:pos x="41" y="42"/>
              </a:cxn>
              <a:cxn ang="0">
                <a:pos x="68" y="37"/>
              </a:cxn>
              <a:cxn ang="0">
                <a:pos x="80" y="18"/>
              </a:cxn>
              <a:cxn ang="0">
                <a:pos x="72" y="14"/>
              </a:cxn>
              <a:cxn ang="0">
                <a:pos x="60" y="0"/>
              </a:cxn>
              <a:cxn ang="0">
                <a:pos x="85" y="10"/>
              </a:cxn>
              <a:cxn ang="0">
                <a:pos x="108" y="39"/>
              </a:cxn>
              <a:cxn ang="0">
                <a:pos x="125" y="62"/>
              </a:cxn>
              <a:cxn ang="0">
                <a:pos x="139" y="67"/>
              </a:cxn>
              <a:cxn ang="0">
                <a:pos x="157" y="63"/>
              </a:cxn>
              <a:cxn ang="0">
                <a:pos x="181" y="45"/>
              </a:cxn>
              <a:cxn ang="0">
                <a:pos x="205" y="23"/>
              </a:cxn>
              <a:cxn ang="0">
                <a:pos x="220" y="31"/>
              </a:cxn>
              <a:cxn ang="0">
                <a:pos x="359" y="11"/>
              </a:cxn>
              <a:cxn ang="0">
                <a:pos x="376" y="23"/>
              </a:cxn>
              <a:cxn ang="0">
                <a:pos x="396" y="22"/>
              </a:cxn>
              <a:cxn ang="0">
                <a:pos x="413" y="37"/>
              </a:cxn>
              <a:cxn ang="0">
                <a:pos x="415" y="43"/>
              </a:cxn>
              <a:cxn ang="0">
                <a:pos x="429" y="54"/>
              </a:cxn>
              <a:cxn ang="0">
                <a:pos x="443" y="68"/>
              </a:cxn>
              <a:cxn ang="0">
                <a:pos x="446" y="80"/>
              </a:cxn>
              <a:cxn ang="0">
                <a:pos x="438" y="96"/>
              </a:cxn>
              <a:cxn ang="0">
                <a:pos x="413" y="111"/>
              </a:cxn>
              <a:cxn ang="0">
                <a:pos x="397" y="120"/>
              </a:cxn>
              <a:cxn ang="0">
                <a:pos x="366" y="123"/>
              </a:cxn>
              <a:cxn ang="0">
                <a:pos x="300" y="146"/>
              </a:cxn>
              <a:cxn ang="0">
                <a:pos x="234" y="171"/>
              </a:cxn>
              <a:cxn ang="0">
                <a:pos x="199" y="178"/>
              </a:cxn>
              <a:cxn ang="0">
                <a:pos x="177" y="174"/>
              </a:cxn>
              <a:cxn ang="0">
                <a:pos x="172" y="164"/>
              </a:cxn>
              <a:cxn ang="0">
                <a:pos x="170" y="161"/>
              </a:cxn>
              <a:cxn ang="0">
                <a:pos x="156" y="161"/>
              </a:cxn>
              <a:cxn ang="0">
                <a:pos x="139" y="160"/>
              </a:cxn>
              <a:cxn ang="0">
                <a:pos x="100" y="147"/>
              </a:cxn>
              <a:cxn ang="0">
                <a:pos x="85" y="137"/>
              </a:cxn>
              <a:cxn ang="0">
                <a:pos x="81" y="125"/>
              </a:cxn>
              <a:cxn ang="0">
                <a:pos x="87" y="111"/>
              </a:cxn>
              <a:cxn ang="0">
                <a:pos x="27" y="103"/>
              </a:cxn>
              <a:cxn ang="0">
                <a:pos x="9" y="105"/>
              </a:cxn>
              <a:cxn ang="0">
                <a:pos x="0" y="80"/>
              </a:cxn>
              <a:cxn ang="0">
                <a:pos x="60" y="86"/>
              </a:cxn>
              <a:cxn ang="0">
                <a:pos x="87" y="80"/>
              </a:cxn>
              <a:cxn ang="0">
                <a:pos x="23" y="68"/>
              </a:cxn>
              <a:cxn ang="0">
                <a:pos x="16" y="55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90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5864225" y="1862138"/>
            <a:ext cx="14288" cy="57150"/>
          </a:xfrm>
          <a:custGeom>
            <a:avLst/>
            <a:gdLst/>
            <a:ahLst/>
            <a:cxnLst>
              <a:cxn ang="0">
                <a:pos x="0" y="73"/>
              </a:cxn>
              <a:cxn ang="0">
                <a:pos x="2" y="47"/>
              </a:cxn>
              <a:cxn ang="0">
                <a:pos x="6" y="28"/>
              </a:cxn>
              <a:cxn ang="0">
                <a:pos x="7" y="20"/>
              </a:cxn>
              <a:cxn ang="0">
                <a:pos x="6" y="13"/>
              </a:cxn>
              <a:cxn ang="0">
                <a:pos x="4" y="7"/>
              </a:cxn>
              <a:cxn ang="0">
                <a:pos x="0" y="0"/>
              </a:cxn>
              <a:cxn ang="0">
                <a:pos x="28" y="0"/>
              </a:cxn>
              <a:cxn ang="0">
                <a:pos x="22" y="16"/>
              </a:cxn>
              <a:cxn ang="0">
                <a:pos x="17" y="30"/>
              </a:cxn>
              <a:cxn ang="0">
                <a:pos x="12" y="43"/>
              </a:cxn>
              <a:cxn ang="0">
                <a:pos x="7" y="55"/>
              </a:cxn>
              <a:cxn ang="0">
                <a:pos x="0" y="73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91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5751513" y="1525589"/>
            <a:ext cx="234950" cy="395287"/>
          </a:xfrm>
          <a:custGeom>
            <a:avLst/>
            <a:gdLst/>
            <a:ahLst/>
            <a:cxnLst>
              <a:cxn ang="0">
                <a:pos x="419" y="203"/>
              </a:cxn>
              <a:cxn ang="0">
                <a:pos x="406" y="221"/>
              </a:cxn>
              <a:cxn ang="0">
                <a:pos x="404" y="237"/>
              </a:cxn>
              <a:cxn ang="0">
                <a:pos x="382" y="275"/>
              </a:cxn>
              <a:cxn ang="0">
                <a:pos x="325" y="306"/>
              </a:cxn>
              <a:cxn ang="0">
                <a:pos x="252" y="354"/>
              </a:cxn>
              <a:cxn ang="0">
                <a:pos x="237" y="369"/>
              </a:cxn>
              <a:cxn ang="0">
                <a:pos x="245" y="381"/>
              </a:cxn>
              <a:cxn ang="0">
                <a:pos x="240" y="424"/>
              </a:cxn>
              <a:cxn ang="0">
                <a:pos x="239" y="449"/>
              </a:cxn>
              <a:cxn ang="0">
                <a:pos x="262" y="468"/>
              </a:cxn>
              <a:cxn ang="0">
                <a:pos x="320" y="485"/>
              </a:cxn>
              <a:cxn ang="0">
                <a:pos x="332" y="505"/>
              </a:cxn>
              <a:cxn ang="0">
                <a:pos x="310" y="531"/>
              </a:cxn>
              <a:cxn ang="0">
                <a:pos x="272" y="547"/>
              </a:cxn>
              <a:cxn ang="0">
                <a:pos x="265" y="560"/>
              </a:cxn>
              <a:cxn ang="0">
                <a:pos x="252" y="631"/>
              </a:cxn>
              <a:cxn ang="0">
                <a:pos x="239" y="721"/>
              </a:cxn>
              <a:cxn ang="0">
                <a:pos x="173" y="727"/>
              </a:cxn>
              <a:cxn ang="0">
                <a:pos x="152" y="738"/>
              </a:cxn>
              <a:cxn ang="0">
                <a:pos x="153" y="757"/>
              </a:cxn>
              <a:cxn ang="0">
                <a:pos x="106" y="757"/>
              </a:cxn>
              <a:cxn ang="0">
                <a:pos x="95" y="752"/>
              </a:cxn>
              <a:cxn ang="0">
                <a:pos x="71" y="718"/>
              </a:cxn>
              <a:cxn ang="0">
                <a:pos x="41" y="640"/>
              </a:cxn>
              <a:cxn ang="0">
                <a:pos x="34" y="597"/>
              </a:cxn>
              <a:cxn ang="0">
                <a:pos x="14" y="586"/>
              </a:cxn>
              <a:cxn ang="0">
                <a:pos x="19" y="561"/>
              </a:cxn>
              <a:cxn ang="0">
                <a:pos x="36" y="538"/>
              </a:cxn>
              <a:cxn ang="0">
                <a:pos x="53" y="504"/>
              </a:cxn>
              <a:cxn ang="0">
                <a:pos x="61" y="471"/>
              </a:cxn>
              <a:cxn ang="0">
                <a:pos x="64" y="441"/>
              </a:cxn>
              <a:cxn ang="0">
                <a:pos x="58" y="408"/>
              </a:cxn>
              <a:cxn ang="0">
                <a:pos x="43" y="377"/>
              </a:cxn>
              <a:cxn ang="0">
                <a:pos x="74" y="276"/>
              </a:cxn>
              <a:cxn ang="0">
                <a:pos x="103" y="275"/>
              </a:cxn>
              <a:cxn ang="0">
                <a:pos x="113" y="234"/>
              </a:cxn>
              <a:cxn ang="0">
                <a:pos x="137" y="192"/>
              </a:cxn>
              <a:cxn ang="0">
                <a:pos x="180" y="145"/>
              </a:cxn>
              <a:cxn ang="0">
                <a:pos x="198" y="111"/>
              </a:cxn>
              <a:cxn ang="0">
                <a:pos x="228" y="60"/>
              </a:cxn>
              <a:cxn ang="0">
                <a:pos x="249" y="43"/>
              </a:cxn>
              <a:cxn ang="0">
                <a:pos x="309" y="29"/>
              </a:cxn>
              <a:cxn ang="0">
                <a:pos x="368" y="13"/>
              </a:cxn>
              <a:cxn ang="0">
                <a:pos x="401" y="5"/>
              </a:cxn>
              <a:cxn ang="0">
                <a:pos x="431" y="32"/>
              </a:cxn>
              <a:cxn ang="0">
                <a:pos x="457" y="42"/>
              </a:cxn>
              <a:cxn ang="0">
                <a:pos x="513" y="111"/>
              </a:cxn>
              <a:cxn ang="0">
                <a:pos x="528" y="150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92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5889625" y="1839913"/>
            <a:ext cx="26988" cy="57150"/>
          </a:xfrm>
          <a:custGeom>
            <a:avLst/>
            <a:gdLst/>
            <a:ahLst/>
            <a:cxnLst>
              <a:cxn ang="0">
                <a:pos x="0" y="37"/>
              </a:cxn>
              <a:cxn ang="0">
                <a:pos x="6" y="30"/>
              </a:cxn>
              <a:cxn ang="0">
                <a:pos x="15" y="19"/>
              </a:cxn>
              <a:cxn ang="0">
                <a:pos x="20" y="13"/>
              </a:cxn>
              <a:cxn ang="0">
                <a:pos x="27" y="8"/>
              </a:cxn>
              <a:cxn ang="0">
                <a:pos x="33" y="4"/>
              </a:cxn>
              <a:cxn ang="0">
                <a:pos x="40" y="0"/>
              </a:cxn>
              <a:cxn ang="0">
                <a:pos x="50" y="7"/>
              </a:cxn>
              <a:cxn ang="0">
                <a:pos x="60" y="13"/>
              </a:cxn>
              <a:cxn ang="0">
                <a:pos x="59" y="20"/>
              </a:cxn>
              <a:cxn ang="0">
                <a:pos x="56" y="29"/>
              </a:cxn>
              <a:cxn ang="0">
                <a:pos x="54" y="34"/>
              </a:cxn>
              <a:cxn ang="0">
                <a:pos x="52" y="38"/>
              </a:cxn>
              <a:cxn ang="0">
                <a:pos x="49" y="42"/>
              </a:cxn>
              <a:cxn ang="0">
                <a:pos x="45" y="45"/>
              </a:cxn>
              <a:cxn ang="0">
                <a:pos x="41" y="48"/>
              </a:cxn>
              <a:cxn ang="0">
                <a:pos x="37" y="50"/>
              </a:cxn>
              <a:cxn ang="0">
                <a:pos x="31" y="51"/>
              </a:cxn>
              <a:cxn ang="0">
                <a:pos x="27" y="51"/>
              </a:cxn>
              <a:cxn ang="0">
                <a:pos x="20" y="50"/>
              </a:cxn>
              <a:cxn ang="0">
                <a:pos x="15" y="47"/>
              </a:cxn>
              <a:cxn ang="0">
                <a:pos x="7" y="43"/>
              </a:cxn>
              <a:cxn ang="0">
                <a:pos x="0" y="37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93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5334001" y="2001838"/>
            <a:ext cx="28575" cy="57150"/>
          </a:xfrm>
          <a:custGeom>
            <a:avLst/>
            <a:gdLst/>
            <a:ahLst/>
            <a:cxnLst>
              <a:cxn ang="0">
                <a:pos x="59" y="48"/>
              </a:cxn>
              <a:cxn ang="0">
                <a:pos x="42" y="50"/>
              </a:cxn>
              <a:cxn ang="0">
                <a:pos x="22" y="51"/>
              </a:cxn>
              <a:cxn ang="0">
                <a:pos x="17" y="50"/>
              </a:cxn>
              <a:cxn ang="0">
                <a:pos x="13" y="49"/>
              </a:cxn>
              <a:cxn ang="0">
                <a:pos x="10" y="48"/>
              </a:cxn>
              <a:cxn ang="0">
                <a:pos x="7" y="46"/>
              </a:cxn>
              <a:cxn ang="0">
                <a:pos x="3" y="43"/>
              </a:cxn>
              <a:cxn ang="0">
                <a:pos x="1" y="40"/>
              </a:cxn>
              <a:cxn ang="0">
                <a:pos x="0" y="35"/>
              </a:cxn>
              <a:cxn ang="0">
                <a:pos x="0" y="30"/>
              </a:cxn>
              <a:cxn ang="0">
                <a:pos x="4" y="29"/>
              </a:cxn>
              <a:cxn ang="0">
                <a:pos x="10" y="27"/>
              </a:cxn>
              <a:cxn ang="0">
                <a:pos x="14" y="24"/>
              </a:cxn>
              <a:cxn ang="0">
                <a:pos x="19" y="20"/>
              </a:cxn>
              <a:cxn ang="0">
                <a:pos x="26" y="10"/>
              </a:cxn>
              <a:cxn ang="0">
                <a:pos x="33" y="0"/>
              </a:cxn>
              <a:cxn ang="0">
                <a:pos x="46" y="1"/>
              </a:cxn>
              <a:cxn ang="0">
                <a:pos x="52" y="2"/>
              </a:cxn>
              <a:cxn ang="0">
                <a:pos x="56" y="3"/>
              </a:cxn>
              <a:cxn ang="0">
                <a:pos x="66" y="0"/>
              </a:cxn>
              <a:cxn ang="0">
                <a:pos x="65" y="13"/>
              </a:cxn>
              <a:cxn ang="0">
                <a:pos x="63" y="24"/>
              </a:cxn>
              <a:cxn ang="0">
                <a:pos x="60" y="36"/>
              </a:cxn>
              <a:cxn ang="0">
                <a:pos x="59" y="48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94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6286500" y="2530475"/>
            <a:ext cx="50800" cy="57150"/>
          </a:xfrm>
          <a:custGeom>
            <a:avLst/>
            <a:gdLst/>
            <a:ahLst/>
            <a:cxnLst>
              <a:cxn ang="0">
                <a:pos x="0" y="44"/>
              </a:cxn>
              <a:cxn ang="0">
                <a:pos x="20" y="74"/>
              </a:cxn>
              <a:cxn ang="0">
                <a:pos x="37" y="69"/>
              </a:cxn>
              <a:cxn ang="0">
                <a:pos x="51" y="65"/>
              </a:cxn>
              <a:cxn ang="0">
                <a:pos x="64" y="59"/>
              </a:cxn>
              <a:cxn ang="0">
                <a:pos x="74" y="53"/>
              </a:cxn>
              <a:cxn ang="0">
                <a:pos x="78" y="49"/>
              </a:cxn>
              <a:cxn ang="0">
                <a:pos x="83" y="45"/>
              </a:cxn>
              <a:cxn ang="0">
                <a:pos x="86" y="41"/>
              </a:cxn>
              <a:cxn ang="0">
                <a:pos x="88" y="37"/>
              </a:cxn>
              <a:cxn ang="0">
                <a:pos x="90" y="32"/>
              </a:cxn>
              <a:cxn ang="0">
                <a:pos x="91" y="26"/>
              </a:cxn>
              <a:cxn ang="0">
                <a:pos x="93" y="19"/>
              </a:cxn>
              <a:cxn ang="0">
                <a:pos x="94" y="13"/>
              </a:cxn>
              <a:cxn ang="0">
                <a:pos x="99" y="12"/>
              </a:cxn>
              <a:cxn ang="0">
                <a:pos x="106" y="9"/>
              </a:cxn>
              <a:cxn ang="0">
                <a:pos x="108" y="7"/>
              </a:cxn>
              <a:cxn ang="0">
                <a:pos x="111" y="5"/>
              </a:cxn>
              <a:cxn ang="0">
                <a:pos x="112" y="3"/>
              </a:cxn>
              <a:cxn ang="0">
                <a:pos x="113" y="0"/>
              </a:cxn>
              <a:cxn ang="0">
                <a:pos x="98" y="4"/>
              </a:cxn>
              <a:cxn ang="0">
                <a:pos x="82" y="8"/>
              </a:cxn>
              <a:cxn ang="0">
                <a:pos x="65" y="13"/>
              </a:cxn>
              <a:cxn ang="0">
                <a:pos x="49" y="19"/>
              </a:cxn>
              <a:cxn ang="0">
                <a:pos x="20" y="33"/>
              </a:cxn>
              <a:cxn ang="0">
                <a:pos x="0" y="44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95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5894389" y="3322639"/>
            <a:ext cx="325437" cy="244475"/>
          </a:xfrm>
          <a:custGeom>
            <a:avLst/>
            <a:gdLst/>
            <a:ahLst/>
            <a:cxnLst>
              <a:cxn ang="0">
                <a:pos x="98" y="452"/>
              </a:cxn>
              <a:cxn ang="0">
                <a:pos x="54" y="440"/>
              </a:cxn>
              <a:cxn ang="0">
                <a:pos x="21" y="429"/>
              </a:cxn>
              <a:cxn ang="0">
                <a:pos x="5" y="413"/>
              </a:cxn>
              <a:cxn ang="0">
                <a:pos x="0" y="363"/>
              </a:cxn>
              <a:cxn ang="0">
                <a:pos x="5" y="309"/>
              </a:cxn>
              <a:cxn ang="0">
                <a:pos x="23" y="273"/>
              </a:cxn>
              <a:cxn ang="0">
                <a:pos x="56" y="228"/>
              </a:cxn>
              <a:cxn ang="0">
                <a:pos x="121" y="204"/>
              </a:cxn>
              <a:cxn ang="0">
                <a:pos x="166" y="188"/>
              </a:cxn>
              <a:cxn ang="0">
                <a:pos x="235" y="173"/>
              </a:cxn>
              <a:cxn ang="0">
                <a:pos x="262" y="153"/>
              </a:cxn>
              <a:cxn ang="0">
                <a:pos x="267" y="136"/>
              </a:cxn>
              <a:cxn ang="0">
                <a:pos x="292" y="120"/>
              </a:cxn>
              <a:cxn ang="0">
                <a:pos x="332" y="115"/>
              </a:cxn>
              <a:cxn ang="0">
                <a:pos x="359" y="101"/>
              </a:cxn>
              <a:cxn ang="0">
                <a:pos x="389" y="67"/>
              </a:cxn>
              <a:cxn ang="0">
                <a:pos x="425" y="22"/>
              </a:cxn>
              <a:cxn ang="0">
                <a:pos x="450" y="6"/>
              </a:cxn>
              <a:cxn ang="0">
                <a:pos x="486" y="0"/>
              </a:cxn>
              <a:cxn ang="0">
                <a:pos x="507" y="29"/>
              </a:cxn>
              <a:cxn ang="0">
                <a:pos x="532" y="53"/>
              </a:cxn>
              <a:cxn ang="0">
                <a:pos x="553" y="107"/>
              </a:cxn>
              <a:cxn ang="0">
                <a:pos x="579" y="159"/>
              </a:cxn>
              <a:cxn ang="0">
                <a:pos x="613" y="172"/>
              </a:cxn>
              <a:cxn ang="0">
                <a:pos x="628" y="193"/>
              </a:cxn>
              <a:cxn ang="0">
                <a:pos x="650" y="233"/>
              </a:cxn>
              <a:cxn ang="0">
                <a:pos x="702" y="279"/>
              </a:cxn>
              <a:cxn ang="0">
                <a:pos x="741" y="315"/>
              </a:cxn>
              <a:cxn ang="0">
                <a:pos x="711" y="345"/>
              </a:cxn>
              <a:cxn ang="0">
                <a:pos x="691" y="342"/>
              </a:cxn>
              <a:cxn ang="0">
                <a:pos x="679" y="321"/>
              </a:cxn>
              <a:cxn ang="0">
                <a:pos x="651" y="330"/>
              </a:cxn>
              <a:cxn ang="0">
                <a:pos x="639" y="352"/>
              </a:cxn>
              <a:cxn ang="0">
                <a:pos x="604" y="356"/>
              </a:cxn>
              <a:cxn ang="0">
                <a:pos x="553" y="356"/>
              </a:cxn>
              <a:cxn ang="0">
                <a:pos x="522" y="365"/>
              </a:cxn>
              <a:cxn ang="0">
                <a:pos x="496" y="387"/>
              </a:cxn>
              <a:cxn ang="0">
                <a:pos x="486" y="394"/>
              </a:cxn>
              <a:cxn ang="0">
                <a:pos x="426" y="400"/>
              </a:cxn>
              <a:cxn ang="0">
                <a:pos x="396" y="392"/>
              </a:cxn>
              <a:cxn ang="0">
                <a:pos x="349" y="354"/>
              </a:cxn>
              <a:cxn ang="0">
                <a:pos x="319" y="345"/>
              </a:cxn>
              <a:cxn ang="0">
                <a:pos x="291" y="355"/>
              </a:cxn>
              <a:cxn ang="0">
                <a:pos x="266" y="377"/>
              </a:cxn>
              <a:cxn ang="0">
                <a:pos x="227" y="437"/>
              </a:cxn>
              <a:cxn ang="0">
                <a:pos x="150" y="439"/>
              </a:cxn>
              <a:cxn ang="0">
                <a:pos x="135" y="448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96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5830888" y="3490913"/>
            <a:ext cx="500062" cy="552450"/>
          </a:xfrm>
          <a:custGeom>
            <a:avLst/>
            <a:gdLst/>
            <a:ahLst/>
            <a:cxnLst>
              <a:cxn ang="0">
                <a:pos x="902" y="57"/>
              </a:cxn>
              <a:cxn ang="0">
                <a:pos x="993" y="66"/>
              </a:cxn>
              <a:cxn ang="0">
                <a:pos x="1080" y="81"/>
              </a:cxn>
              <a:cxn ang="0">
                <a:pos x="1126" y="175"/>
              </a:cxn>
              <a:cxn ang="0">
                <a:pos x="1133" y="211"/>
              </a:cxn>
              <a:cxn ang="0">
                <a:pos x="1058" y="272"/>
              </a:cxn>
              <a:cxn ang="0">
                <a:pos x="1045" y="360"/>
              </a:cxn>
              <a:cxn ang="0">
                <a:pos x="1003" y="440"/>
              </a:cxn>
              <a:cxn ang="0">
                <a:pos x="990" y="476"/>
              </a:cxn>
              <a:cxn ang="0">
                <a:pos x="1019" y="576"/>
              </a:cxn>
              <a:cxn ang="0">
                <a:pos x="1026" y="664"/>
              </a:cxn>
              <a:cxn ang="0">
                <a:pos x="1047" y="731"/>
              </a:cxn>
              <a:cxn ang="0">
                <a:pos x="1079" y="765"/>
              </a:cxn>
              <a:cxn ang="0">
                <a:pos x="1092" y="825"/>
              </a:cxn>
              <a:cxn ang="0">
                <a:pos x="1040" y="844"/>
              </a:cxn>
              <a:cxn ang="0">
                <a:pos x="997" y="856"/>
              </a:cxn>
              <a:cxn ang="0">
                <a:pos x="960" y="992"/>
              </a:cxn>
              <a:cxn ang="0">
                <a:pos x="930" y="1026"/>
              </a:cxn>
              <a:cxn ang="0">
                <a:pos x="902" y="1031"/>
              </a:cxn>
              <a:cxn ang="0">
                <a:pos x="840" y="1053"/>
              </a:cxn>
              <a:cxn ang="0">
                <a:pos x="782" y="1037"/>
              </a:cxn>
              <a:cxn ang="0">
                <a:pos x="743" y="1014"/>
              </a:cxn>
              <a:cxn ang="0">
                <a:pos x="707" y="997"/>
              </a:cxn>
              <a:cxn ang="0">
                <a:pos x="674" y="986"/>
              </a:cxn>
              <a:cxn ang="0">
                <a:pos x="608" y="987"/>
              </a:cxn>
              <a:cxn ang="0">
                <a:pos x="594" y="942"/>
              </a:cxn>
              <a:cxn ang="0">
                <a:pos x="575" y="884"/>
              </a:cxn>
              <a:cxn ang="0">
                <a:pos x="590" y="846"/>
              </a:cxn>
              <a:cxn ang="0">
                <a:pos x="590" y="779"/>
              </a:cxn>
              <a:cxn ang="0">
                <a:pos x="454" y="755"/>
              </a:cxn>
              <a:cxn ang="0">
                <a:pos x="443" y="785"/>
              </a:cxn>
              <a:cxn ang="0">
                <a:pos x="396" y="817"/>
              </a:cxn>
              <a:cxn ang="0">
                <a:pos x="337" y="797"/>
              </a:cxn>
              <a:cxn ang="0">
                <a:pos x="297" y="708"/>
              </a:cxn>
              <a:cxn ang="0">
                <a:pos x="3" y="671"/>
              </a:cxn>
              <a:cxn ang="0">
                <a:pos x="45" y="667"/>
              </a:cxn>
              <a:cxn ang="0">
                <a:pos x="26" y="631"/>
              </a:cxn>
              <a:cxn ang="0">
                <a:pos x="75" y="615"/>
              </a:cxn>
              <a:cxn ang="0">
                <a:pos x="145" y="614"/>
              </a:cxn>
              <a:cxn ang="0">
                <a:pos x="183" y="620"/>
              </a:cxn>
              <a:cxn ang="0">
                <a:pos x="220" y="574"/>
              </a:cxn>
              <a:cxn ang="0">
                <a:pos x="260" y="555"/>
              </a:cxn>
              <a:cxn ang="0">
                <a:pos x="281" y="440"/>
              </a:cxn>
              <a:cxn ang="0">
                <a:pos x="346" y="370"/>
              </a:cxn>
              <a:cxn ang="0">
                <a:pos x="370" y="276"/>
              </a:cxn>
              <a:cxn ang="0">
                <a:pos x="372" y="180"/>
              </a:cxn>
              <a:cxn ang="0">
                <a:pos x="383" y="122"/>
              </a:cxn>
              <a:cxn ang="0">
                <a:pos x="440" y="35"/>
              </a:cxn>
              <a:cxn ang="0">
                <a:pos x="491" y="30"/>
              </a:cxn>
              <a:cxn ang="0">
                <a:pos x="558" y="77"/>
              </a:cxn>
              <a:cxn ang="0">
                <a:pos x="637" y="73"/>
              </a:cxn>
              <a:cxn ang="0">
                <a:pos x="670" y="44"/>
              </a:cxn>
              <a:cxn ang="0">
                <a:pos x="734" y="34"/>
              </a:cxn>
              <a:cxn ang="0">
                <a:pos x="795" y="17"/>
              </a:cxn>
              <a:cxn ang="0">
                <a:pos x="828" y="8"/>
              </a:cxn>
              <a:cxn ang="0">
                <a:pos x="859" y="24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97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5767388" y="3590926"/>
            <a:ext cx="55562" cy="55563"/>
          </a:xfrm>
          <a:custGeom>
            <a:avLst/>
            <a:gdLst/>
            <a:ahLst/>
            <a:cxnLst>
              <a:cxn ang="0">
                <a:pos x="120" y="0"/>
              </a:cxn>
              <a:cxn ang="0">
                <a:pos x="121" y="27"/>
              </a:cxn>
              <a:cxn ang="0">
                <a:pos x="124" y="46"/>
              </a:cxn>
              <a:cxn ang="0">
                <a:pos x="125" y="53"/>
              </a:cxn>
              <a:cxn ang="0">
                <a:pos x="125" y="59"/>
              </a:cxn>
              <a:cxn ang="0">
                <a:pos x="125" y="65"/>
              </a:cxn>
              <a:cxn ang="0">
                <a:pos x="123" y="69"/>
              </a:cxn>
              <a:cxn ang="0">
                <a:pos x="119" y="72"/>
              </a:cxn>
              <a:cxn ang="0">
                <a:pos x="112" y="74"/>
              </a:cxn>
              <a:cxn ang="0">
                <a:pos x="103" y="76"/>
              </a:cxn>
              <a:cxn ang="0">
                <a:pos x="91" y="77"/>
              </a:cxn>
              <a:cxn ang="0">
                <a:pos x="57" y="79"/>
              </a:cxn>
              <a:cxn ang="0">
                <a:pos x="7" y="81"/>
              </a:cxn>
              <a:cxn ang="0">
                <a:pos x="5" y="79"/>
              </a:cxn>
              <a:cxn ang="0">
                <a:pos x="3" y="72"/>
              </a:cxn>
              <a:cxn ang="0">
                <a:pos x="1" y="59"/>
              </a:cxn>
              <a:cxn ang="0">
                <a:pos x="0" y="43"/>
              </a:cxn>
              <a:cxn ang="0">
                <a:pos x="0" y="37"/>
              </a:cxn>
              <a:cxn ang="0">
                <a:pos x="1" y="31"/>
              </a:cxn>
              <a:cxn ang="0">
                <a:pos x="2" y="25"/>
              </a:cxn>
              <a:cxn ang="0">
                <a:pos x="4" y="20"/>
              </a:cxn>
              <a:cxn ang="0">
                <a:pos x="8" y="15"/>
              </a:cxn>
              <a:cxn ang="0">
                <a:pos x="11" y="10"/>
              </a:cxn>
              <a:cxn ang="0">
                <a:pos x="14" y="5"/>
              </a:cxn>
              <a:cxn ang="0">
                <a:pos x="20" y="0"/>
              </a:cxn>
              <a:cxn ang="0">
                <a:pos x="120" y="0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98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5749925" y="3590926"/>
            <a:ext cx="152400" cy="201613"/>
          </a:xfrm>
          <a:custGeom>
            <a:avLst/>
            <a:gdLst/>
            <a:ahLst/>
            <a:cxnLst>
              <a:cxn ang="0">
                <a:pos x="262" y="15"/>
              </a:cxn>
              <a:cxn ang="0">
                <a:pos x="257" y="37"/>
              </a:cxn>
              <a:cxn ang="0">
                <a:pos x="264" y="51"/>
              </a:cxn>
              <a:cxn ang="0">
                <a:pos x="283" y="60"/>
              </a:cxn>
              <a:cxn ang="0">
                <a:pos x="319" y="55"/>
              </a:cxn>
              <a:cxn ang="0">
                <a:pos x="332" y="57"/>
              </a:cxn>
              <a:cxn ang="0">
                <a:pos x="340" y="68"/>
              </a:cxn>
              <a:cxn ang="0">
                <a:pos x="345" y="83"/>
              </a:cxn>
              <a:cxn ang="0">
                <a:pos x="351" y="94"/>
              </a:cxn>
              <a:cxn ang="0">
                <a:pos x="345" y="108"/>
              </a:cxn>
              <a:cxn ang="0">
                <a:pos x="320" y="136"/>
              </a:cxn>
              <a:cxn ang="0">
                <a:pos x="348" y="175"/>
              </a:cxn>
              <a:cxn ang="0">
                <a:pos x="355" y="202"/>
              </a:cxn>
              <a:cxn ang="0">
                <a:pos x="353" y="219"/>
              </a:cxn>
              <a:cxn ang="0">
                <a:pos x="345" y="254"/>
              </a:cxn>
              <a:cxn ang="0">
                <a:pos x="333" y="271"/>
              </a:cxn>
              <a:cxn ang="0">
                <a:pos x="312" y="280"/>
              </a:cxn>
              <a:cxn ang="0">
                <a:pos x="286" y="282"/>
              </a:cxn>
              <a:cxn ang="0">
                <a:pos x="270" y="282"/>
              </a:cxn>
              <a:cxn ang="0">
                <a:pos x="252" y="265"/>
              </a:cxn>
              <a:cxn ang="0">
                <a:pos x="240" y="259"/>
              </a:cxn>
              <a:cxn ang="0">
                <a:pos x="221" y="269"/>
              </a:cxn>
              <a:cxn ang="0">
                <a:pos x="205" y="279"/>
              </a:cxn>
              <a:cxn ang="0">
                <a:pos x="194" y="285"/>
              </a:cxn>
              <a:cxn ang="0">
                <a:pos x="185" y="298"/>
              </a:cxn>
              <a:cxn ang="0">
                <a:pos x="187" y="321"/>
              </a:cxn>
              <a:cxn ang="0">
                <a:pos x="207" y="358"/>
              </a:cxn>
              <a:cxn ang="0">
                <a:pos x="195" y="353"/>
              </a:cxn>
              <a:cxn ang="0">
                <a:pos x="177" y="355"/>
              </a:cxn>
              <a:cxn ang="0">
                <a:pos x="162" y="365"/>
              </a:cxn>
              <a:cxn ang="0">
                <a:pos x="146" y="388"/>
              </a:cxn>
              <a:cxn ang="0">
                <a:pos x="123" y="370"/>
              </a:cxn>
              <a:cxn ang="0">
                <a:pos x="113" y="358"/>
              </a:cxn>
              <a:cxn ang="0">
                <a:pos x="96" y="324"/>
              </a:cxn>
              <a:cxn ang="0">
                <a:pos x="50" y="280"/>
              </a:cxn>
              <a:cxn ang="0">
                <a:pos x="22" y="254"/>
              </a:cxn>
              <a:cxn ang="0">
                <a:pos x="5" y="223"/>
              </a:cxn>
              <a:cxn ang="0">
                <a:pos x="1" y="187"/>
              </a:cxn>
              <a:cxn ang="0">
                <a:pos x="11" y="162"/>
              </a:cxn>
              <a:cxn ang="0">
                <a:pos x="41" y="134"/>
              </a:cxn>
              <a:cxn ang="0">
                <a:pos x="54" y="116"/>
              </a:cxn>
              <a:cxn ang="0">
                <a:pos x="56" y="91"/>
              </a:cxn>
              <a:cxn ang="0">
                <a:pos x="108" y="83"/>
              </a:cxn>
              <a:cxn ang="0">
                <a:pos x="156" y="80"/>
              </a:cxn>
              <a:cxn ang="0">
                <a:pos x="172" y="73"/>
              </a:cxn>
              <a:cxn ang="0">
                <a:pos x="177" y="63"/>
              </a:cxn>
              <a:cxn ang="0">
                <a:pos x="174" y="41"/>
              </a:cxn>
              <a:cxn ang="0">
                <a:pos x="167" y="12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299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6283325" y="3995738"/>
            <a:ext cx="260350" cy="520700"/>
          </a:xfrm>
          <a:custGeom>
            <a:avLst/>
            <a:gdLst/>
            <a:ahLst/>
            <a:cxnLst>
              <a:cxn ang="0">
                <a:pos x="0" y="259"/>
              </a:cxn>
              <a:cxn ang="0">
                <a:pos x="182" y="224"/>
              </a:cxn>
              <a:cxn ang="0">
                <a:pos x="230" y="240"/>
              </a:cxn>
              <a:cxn ang="0">
                <a:pos x="258" y="258"/>
              </a:cxn>
              <a:cxn ang="0">
                <a:pos x="252" y="296"/>
              </a:cxn>
              <a:cxn ang="0">
                <a:pos x="234" y="327"/>
              </a:cxn>
              <a:cxn ang="0">
                <a:pos x="250" y="357"/>
              </a:cxn>
              <a:cxn ang="0">
                <a:pos x="294" y="365"/>
              </a:cxn>
              <a:cxn ang="0">
                <a:pos x="319" y="340"/>
              </a:cxn>
              <a:cxn ang="0">
                <a:pos x="338" y="317"/>
              </a:cxn>
              <a:cxn ang="0">
                <a:pos x="332" y="261"/>
              </a:cxn>
              <a:cxn ang="0">
                <a:pos x="314" y="204"/>
              </a:cxn>
              <a:cxn ang="0">
                <a:pos x="271" y="157"/>
              </a:cxn>
              <a:cxn ang="0">
                <a:pos x="254" y="125"/>
              </a:cxn>
              <a:cxn ang="0">
                <a:pos x="270" y="62"/>
              </a:cxn>
              <a:cxn ang="0">
                <a:pos x="320" y="55"/>
              </a:cxn>
              <a:cxn ang="0">
                <a:pos x="418" y="60"/>
              </a:cxn>
              <a:cxn ang="0">
                <a:pos x="521" y="36"/>
              </a:cxn>
              <a:cxn ang="0">
                <a:pos x="597" y="3"/>
              </a:cxn>
              <a:cxn ang="0">
                <a:pos x="597" y="30"/>
              </a:cxn>
              <a:cxn ang="0">
                <a:pos x="597" y="126"/>
              </a:cxn>
              <a:cxn ang="0">
                <a:pos x="592" y="228"/>
              </a:cxn>
              <a:cxn ang="0">
                <a:pos x="585" y="276"/>
              </a:cxn>
              <a:cxn ang="0">
                <a:pos x="550" y="337"/>
              </a:cxn>
              <a:cxn ang="0">
                <a:pos x="468" y="402"/>
              </a:cxn>
              <a:cxn ang="0">
                <a:pos x="374" y="426"/>
              </a:cxn>
              <a:cxn ang="0">
                <a:pos x="353" y="464"/>
              </a:cxn>
              <a:cxn ang="0">
                <a:pos x="293" y="507"/>
              </a:cxn>
              <a:cxn ang="0">
                <a:pos x="243" y="549"/>
              </a:cxn>
              <a:cxn ang="0">
                <a:pos x="229" y="582"/>
              </a:cxn>
              <a:cxn ang="0">
                <a:pos x="237" y="619"/>
              </a:cxn>
              <a:cxn ang="0">
                <a:pos x="267" y="654"/>
              </a:cxn>
              <a:cxn ang="0">
                <a:pos x="254" y="694"/>
              </a:cxn>
              <a:cxn ang="0">
                <a:pos x="265" y="729"/>
              </a:cxn>
              <a:cxn ang="0">
                <a:pos x="267" y="790"/>
              </a:cxn>
              <a:cxn ang="0">
                <a:pos x="256" y="814"/>
              </a:cxn>
              <a:cxn ang="0">
                <a:pos x="193" y="873"/>
              </a:cxn>
              <a:cxn ang="0">
                <a:pos x="147" y="887"/>
              </a:cxn>
              <a:cxn ang="0">
                <a:pos x="102" y="894"/>
              </a:cxn>
              <a:cxn ang="0">
                <a:pos x="87" y="913"/>
              </a:cxn>
              <a:cxn ang="0">
                <a:pos x="95" y="939"/>
              </a:cxn>
              <a:cxn ang="0">
                <a:pos x="91" y="992"/>
              </a:cxn>
              <a:cxn ang="0">
                <a:pos x="74" y="810"/>
              </a:cxn>
              <a:cxn ang="0">
                <a:pos x="58" y="765"/>
              </a:cxn>
              <a:cxn ang="0">
                <a:pos x="41" y="720"/>
              </a:cxn>
              <a:cxn ang="0">
                <a:pos x="108" y="666"/>
              </a:cxn>
              <a:cxn ang="0">
                <a:pos x="109" y="614"/>
              </a:cxn>
              <a:cxn ang="0">
                <a:pos x="149" y="571"/>
              </a:cxn>
              <a:cxn ang="0">
                <a:pos x="174" y="526"/>
              </a:cxn>
              <a:cxn ang="0">
                <a:pos x="168" y="441"/>
              </a:cxn>
              <a:cxn ang="0">
                <a:pos x="152" y="364"/>
              </a:cxn>
              <a:cxn ang="0">
                <a:pos x="81" y="341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00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6018214" y="4235450"/>
            <a:ext cx="238125" cy="287338"/>
          </a:xfrm>
          <a:custGeom>
            <a:avLst/>
            <a:gdLst/>
            <a:ahLst/>
            <a:cxnLst>
              <a:cxn ang="0">
                <a:pos x="30" y="428"/>
              </a:cxn>
              <a:cxn ang="0">
                <a:pos x="46" y="454"/>
              </a:cxn>
              <a:cxn ang="0">
                <a:pos x="46" y="512"/>
              </a:cxn>
              <a:cxn ang="0">
                <a:pos x="48" y="527"/>
              </a:cxn>
              <a:cxn ang="0">
                <a:pos x="55" y="537"/>
              </a:cxn>
              <a:cxn ang="0">
                <a:pos x="68" y="545"/>
              </a:cxn>
              <a:cxn ang="0">
                <a:pos x="100" y="549"/>
              </a:cxn>
              <a:cxn ang="0">
                <a:pos x="113" y="546"/>
              </a:cxn>
              <a:cxn ang="0">
                <a:pos x="130" y="533"/>
              </a:cxn>
              <a:cxn ang="0">
                <a:pos x="143" y="507"/>
              </a:cxn>
              <a:cxn ang="0">
                <a:pos x="154" y="477"/>
              </a:cxn>
              <a:cxn ang="0">
                <a:pos x="169" y="454"/>
              </a:cxn>
              <a:cxn ang="0">
                <a:pos x="183" y="445"/>
              </a:cxn>
              <a:cxn ang="0">
                <a:pos x="201" y="444"/>
              </a:cxn>
              <a:cxn ang="0">
                <a:pos x="222" y="448"/>
              </a:cxn>
              <a:cxn ang="0">
                <a:pos x="252" y="461"/>
              </a:cxn>
              <a:cxn ang="0">
                <a:pos x="272" y="468"/>
              </a:cxn>
              <a:cxn ang="0">
                <a:pos x="297" y="469"/>
              </a:cxn>
              <a:cxn ang="0">
                <a:pos x="319" y="464"/>
              </a:cxn>
              <a:cxn ang="0">
                <a:pos x="332" y="453"/>
              </a:cxn>
              <a:cxn ang="0">
                <a:pos x="359" y="388"/>
              </a:cxn>
              <a:cxn ang="0">
                <a:pos x="382" y="363"/>
              </a:cxn>
              <a:cxn ang="0">
                <a:pos x="447" y="314"/>
              </a:cxn>
              <a:cxn ang="0">
                <a:pos x="527" y="264"/>
              </a:cxn>
              <a:cxn ang="0">
                <a:pos x="528" y="232"/>
              </a:cxn>
              <a:cxn ang="0">
                <a:pos x="503" y="218"/>
              </a:cxn>
              <a:cxn ang="0">
                <a:pos x="485" y="199"/>
              </a:cxn>
              <a:cxn ang="0">
                <a:pos x="460" y="157"/>
              </a:cxn>
              <a:cxn ang="0">
                <a:pos x="440" y="132"/>
              </a:cxn>
              <a:cxn ang="0">
                <a:pos x="377" y="76"/>
              </a:cxn>
              <a:cxn ang="0">
                <a:pos x="359" y="53"/>
              </a:cxn>
              <a:cxn ang="0">
                <a:pos x="348" y="24"/>
              </a:cxn>
              <a:cxn ang="0">
                <a:pos x="319" y="0"/>
              </a:cxn>
              <a:cxn ang="0">
                <a:pos x="244" y="2"/>
              </a:cxn>
              <a:cxn ang="0">
                <a:pos x="176" y="13"/>
              </a:cxn>
              <a:cxn ang="0">
                <a:pos x="95" y="22"/>
              </a:cxn>
              <a:cxn ang="0">
                <a:pos x="71" y="27"/>
              </a:cxn>
              <a:cxn ang="0">
                <a:pos x="67" y="38"/>
              </a:cxn>
              <a:cxn ang="0">
                <a:pos x="73" y="56"/>
              </a:cxn>
              <a:cxn ang="0">
                <a:pos x="84" y="74"/>
              </a:cxn>
              <a:cxn ang="0">
                <a:pos x="86" y="107"/>
              </a:cxn>
              <a:cxn ang="0">
                <a:pos x="74" y="171"/>
              </a:cxn>
              <a:cxn ang="0">
                <a:pos x="62" y="237"/>
              </a:cxn>
              <a:cxn ang="0">
                <a:pos x="47" y="263"/>
              </a:cxn>
              <a:cxn ang="0">
                <a:pos x="26" y="277"/>
              </a:cxn>
              <a:cxn ang="0">
                <a:pos x="5" y="307"/>
              </a:cxn>
              <a:cxn ang="0">
                <a:pos x="1" y="339"/>
              </a:cxn>
              <a:cxn ang="0">
                <a:pos x="8" y="367"/>
              </a:cxn>
              <a:cxn ang="0">
                <a:pos x="8" y="391"/>
              </a:cxn>
              <a:cxn ang="0">
                <a:pos x="0" y="408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01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6591300" y="4037014"/>
            <a:ext cx="196850" cy="434975"/>
          </a:xfrm>
          <a:custGeom>
            <a:avLst/>
            <a:gdLst/>
            <a:ahLst/>
            <a:cxnLst>
              <a:cxn ang="0">
                <a:pos x="112" y="261"/>
              </a:cxn>
              <a:cxn ang="0">
                <a:pos x="138" y="248"/>
              </a:cxn>
              <a:cxn ang="0">
                <a:pos x="165" y="240"/>
              </a:cxn>
              <a:cxn ang="0">
                <a:pos x="192" y="232"/>
              </a:cxn>
              <a:cxn ang="0">
                <a:pos x="215" y="217"/>
              </a:cxn>
              <a:cxn ang="0">
                <a:pos x="232" y="200"/>
              </a:cxn>
              <a:cxn ang="0">
                <a:pos x="232" y="179"/>
              </a:cxn>
              <a:cxn ang="0">
                <a:pos x="265" y="178"/>
              </a:cxn>
              <a:cxn ang="0">
                <a:pos x="282" y="173"/>
              </a:cxn>
              <a:cxn ang="0">
                <a:pos x="298" y="162"/>
              </a:cxn>
              <a:cxn ang="0">
                <a:pos x="320" y="133"/>
              </a:cxn>
              <a:cxn ang="0">
                <a:pos x="350" y="75"/>
              </a:cxn>
              <a:cxn ang="0">
                <a:pos x="378" y="0"/>
              </a:cxn>
              <a:cxn ang="0">
                <a:pos x="385" y="19"/>
              </a:cxn>
              <a:cxn ang="0">
                <a:pos x="407" y="47"/>
              </a:cxn>
              <a:cxn ang="0">
                <a:pos x="448" y="85"/>
              </a:cxn>
              <a:cxn ang="0">
                <a:pos x="440" y="103"/>
              </a:cxn>
              <a:cxn ang="0">
                <a:pos x="444" y="138"/>
              </a:cxn>
              <a:cxn ang="0">
                <a:pos x="452" y="185"/>
              </a:cxn>
              <a:cxn ang="0">
                <a:pos x="448" y="206"/>
              </a:cxn>
              <a:cxn ang="0">
                <a:pos x="428" y="234"/>
              </a:cxn>
              <a:cxn ang="0">
                <a:pos x="409" y="261"/>
              </a:cxn>
              <a:cxn ang="0">
                <a:pos x="405" y="283"/>
              </a:cxn>
              <a:cxn ang="0">
                <a:pos x="393" y="308"/>
              </a:cxn>
              <a:cxn ang="0">
                <a:pos x="383" y="318"/>
              </a:cxn>
              <a:cxn ang="0">
                <a:pos x="377" y="332"/>
              </a:cxn>
              <a:cxn ang="0">
                <a:pos x="368" y="364"/>
              </a:cxn>
              <a:cxn ang="0">
                <a:pos x="338" y="427"/>
              </a:cxn>
              <a:cxn ang="0">
                <a:pos x="321" y="470"/>
              </a:cxn>
              <a:cxn ang="0">
                <a:pos x="318" y="500"/>
              </a:cxn>
              <a:cxn ang="0">
                <a:pos x="310" y="531"/>
              </a:cxn>
              <a:cxn ang="0">
                <a:pos x="281" y="602"/>
              </a:cxn>
              <a:cxn ang="0">
                <a:pos x="260" y="637"/>
              </a:cxn>
              <a:cxn ang="0">
                <a:pos x="242" y="655"/>
              </a:cxn>
              <a:cxn ang="0">
                <a:pos x="232" y="660"/>
              </a:cxn>
              <a:cxn ang="0">
                <a:pos x="228" y="714"/>
              </a:cxn>
              <a:cxn ang="0">
                <a:pos x="215" y="759"/>
              </a:cxn>
              <a:cxn ang="0">
                <a:pos x="191" y="795"/>
              </a:cxn>
              <a:cxn ang="0">
                <a:pos x="157" y="819"/>
              </a:cxn>
              <a:cxn ang="0">
                <a:pos x="110" y="831"/>
              </a:cxn>
              <a:cxn ang="0">
                <a:pos x="80" y="827"/>
              </a:cxn>
              <a:cxn ang="0">
                <a:pos x="73" y="817"/>
              </a:cxn>
              <a:cxn ang="0">
                <a:pos x="50" y="810"/>
              </a:cxn>
              <a:cxn ang="0">
                <a:pos x="26" y="798"/>
              </a:cxn>
              <a:cxn ang="0">
                <a:pos x="12" y="777"/>
              </a:cxn>
              <a:cxn ang="0">
                <a:pos x="3" y="752"/>
              </a:cxn>
              <a:cxn ang="0">
                <a:pos x="0" y="708"/>
              </a:cxn>
              <a:cxn ang="0">
                <a:pos x="4" y="694"/>
              </a:cxn>
              <a:cxn ang="0">
                <a:pos x="19" y="678"/>
              </a:cxn>
              <a:cxn ang="0">
                <a:pos x="11" y="672"/>
              </a:cxn>
              <a:cxn ang="0">
                <a:pos x="0" y="652"/>
              </a:cxn>
              <a:cxn ang="0">
                <a:pos x="5" y="628"/>
              </a:cxn>
              <a:cxn ang="0">
                <a:pos x="8" y="610"/>
              </a:cxn>
              <a:cxn ang="0">
                <a:pos x="5" y="591"/>
              </a:cxn>
              <a:cxn ang="0">
                <a:pos x="18" y="587"/>
              </a:cxn>
              <a:cxn ang="0">
                <a:pos x="43" y="568"/>
              </a:cxn>
              <a:cxn ang="0">
                <a:pos x="63" y="538"/>
              </a:cxn>
              <a:cxn ang="0">
                <a:pos x="76" y="506"/>
              </a:cxn>
              <a:cxn ang="0">
                <a:pos x="86" y="462"/>
              </a:cxn>
              <a:cxn ang="0">
                <a:pos x="83" y="438"/>
              </a:cxn>
              <a:cxn ang="0">
                <a:pos x="70" y="408"/>
              </a:cxn>
              <a:cxn ang="0">
                <a:pos x="56" y="382"/>
              </a:cxn>
              <a:cxn ang="0">
                <a:pos x="53" y="363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02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6267451" y="3735389"/>
            <a:ext cx="36513" cy="66675"/>
          </a:xfrm>
          <a:custGeom>
            <a:avLst/>
            <a:gdLst/>
            <a:ahLst/>
            <a:cxnLst>
              <a:cxn ang="0">
                <a:pos x="80" y="2"/>
              </a:cxn>
              <a:cxn ang="0">
                <a:pos x="80" y="101"/>
              </a:cxn>
              <a:cxn ang="0">
                <a:pos x="78" y="104"/>
              </a:cxn>
              <a:cxn ang="0">
                <a:pos x="75" y="107"/>
              </a:cxn>
              <a:cxn ang="0">
                <a:pos x="70" y="109"/>
              </a:cxn>
              <a:cxn ang="0">
                <a:pos x="67" y="111"/>
              </a:cxn>
              <a:cxn ang="0">
                <a:pos x="58" y="114"/>
              </a:cxn>
              <a:cxn ang="0">
                <a:pos x="48" y="116"/>
              </a:cxn>
              <a:cxn ang="0">
                <a:pos x="36" y="117"/>
              </a:cxn>
              <a:cxn ang="0">
                <a:pos x="25" y="119"/>
              </a:cxn>
              <a:cxn ang="0">
                <a:pos x="13" y="123"/>
              </a:cxn>
              <a:cxn ang="0">
                <a:pos x="0" y="126"/>
              </a:cxn>
              <a:cxn ang="0">
                <a:pos x="7" y="40"/>
              </a:cxn>
              <a:cxn ang="0">
                <a:pos x="23" y="27"/>
              </a:cxn>
              <a:cxn ang="0">
                <a:pos x="41" y="12"/>
              </a:cxn>
              <a:cxn ang="0">
                <a:pos x="51" y="5"/>
              </a:cxn>
              <a:cxn ang="0">
                <a:pos x="60" y="1"/>
              </a:cxn>
              <a:cxn ang="0">
                <a:pos x="65" y="0"/>
              </a:cxn>
              <a:cxn ang="0">
                <a:pos x="70" y="0"/>
              </a:cxn>
              <a:cxn ang="0">
                <a:pos x="75" y="1"/>
              </a:cxn>
              <a:cxn ang="0">
                <a:pos x="80" y="2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03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6256338" y="3695701"/>
            <a:ext cx="55562" cy="60325"/>
          </a:xfrm>
          <a:custGeom>
            <a:avLst/>
            <a:gdLst/>
            <a:ahLst/>
            <a:cxnLst>
              <a:cxn ang="0">
                <a:pos x="113" y="0"/>
              </a:cxn>
              <a:cxn ang="0">
                <a:pos x="116" y="15"/>
              </a:cxn>
              <a:cxn ang="0">
                <a:pos x="122" y="35"/>
              </a:cxn>
              <a:cxn ang="0">
                <a:pos x="124" y="45"/>
              </a:cxn>
              <a:cxn ang="0">
                <a:pos x="124" y="54"/>
              </a:cxn>
              <a:cxn ang="0">
                <a:pos x="124" y="59"/>
              </a:cxn>
              <a:cxn ang="0">
                <a:pos x="123" y="64"/>
              </a:cxn>
              <a:cxn ang="0">
                <a:pos x="122" y="69"/>
              </a:cxn>
              <a:cxn ang="0">
                <a:pos x="119" y="73"/>
              </a:cxn>
              <a:cxn ang="0">
                <a:pos x="114" y="72"/>
              </a:cxn>
              <a:cxn ang="0">
                <a:pos x="108" y="71"/>
              </a:cxn>
              <a:cxn ang="0">
                <a:pos x="103" y="72"/>
              </a:cxn>
              <a:cxn ang="0">
                <a:pos x="96" y="73"/>
              </a:cxn>
              <a:cxn ang="0">
                <a:pos x="83" y="78"/>
              </a:cxn>
              <a:cxn ang="0">
                <a:pos x="71" y="85"/>
              </a:cxn>
              <a:cxn ang="0">
                <a:pos x="46" y="103"/>
              </a:cxn>
              <a:cxn ang="0">
                <a:pos x="26" y="117"/>
              </a:cxn>
              <a:cxn ang="0">
                <a:pos x="23" y="112"/>
              </a:cxn>
              <a:cxn ang="0">
                <a:pos x="13" y="101"/>
              </a:cxn>
              <a:cxn ang="0">
                <a:pos x="4" y="89"/>
              </a:cxn>
              <a:cxn ang="0">
                <a:pos x="0" y="79"/>
              </a:cxn>
              <a:cxn ang="0">
                <a:pos x="1" y="76"/>
              </a:cxn>
              <a:cxn ang="0">
                <a:pos x="2" y="72"/>
              </a:cxn>
              <a:cxn ang="0">
                <a:pos x="5" y="67"/>
              </a:cxn>
              <a:cxn ang="0">
                <a:pos x="9" y="62"/>
              </a:cxn>
              <a:cxn ang="0">
                <a:pos x="17" y="52"/>
              </a:cxn>
              <a:cxn ang="0">
                <a:pos x="27" y="42"/>
              </a:cxn>
              <a:cxn ang="0">
                <a:pos x="48" y="22"/>
              </a:cxn>
              <a:cxn ang="0">
                <a:pos x="60" y="12"/>
              </a:cxn>
              <a:cxn ang="0">
                <a:pos x="73" y="12"/>
              </a:cxn>
              <a:cxn ang="0">
                <a:pos x="86" y="12"/>
              </a:cxn>
              <a:cxn ang="0">
                <a:pos x="100" y="6"/>
              </a:cxn>
              <a:cxn ang="0">
                <a:pos x="113" y="0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04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6565900" y="2395539"/>
            <a:ext cx="503238" cy="473075"/>
          </a:xfrm>
          <a:custGeom>
            <a:avLst/>
            <a:gdLst/>
            <a:ahLst/>
            <a:cxnLst>
              <a:cxn ang="0">
                <a:pos x="928" y="191"/>
              </a:cxn>
              <a:cxn ang="0">
                <a:pos x="859" y="162"/>
              </a:cxn>
              <a:cxn ang="0">
                <a:pos x="773" y="111"/>
              </a:cxn>
              <a:cxn ang="0">
                <a:pos x="617" y="104"/>
              </a:cxn>
              <a:cxn ang="0">
                <a:pos x="551" y="154"/>
              </a:cxn>
              <a:cxn ang="0">
                <a:pos x="504" y="179"/>
              </a:cxn>
              <a:cxn ang="0">
                <a:pos x="426" y="197"/>
              </a:cxn>
              <a:cxn ang="0">
                <a:pos x="383" y="199"/>
              </a:cxn>
              <a:cxn ang="0">
                <a:pos x="355" y="173"/>
              </a:cxn>
              <a:cxn ang="0">
                <a:pos x="260" y="136"/>
              </a:cxn>
              <a:cxn ang="0">
                <a:pos x="228" y="86"/>
              </a:cxn>
              <a:cxn ang="0">
                <a:pos x="220" y="23"/>
              </a:cxn>
              <a:cxn ang="0">
                <a:pos x="188" y="1"/>
              </a:cxn>
              <a:cxn ang="0">
                <a:pos x="155" y="21"/>
              </a:cxn>
              <a:cxn ang="0">
                <a:pos x="136" y="67"/>
              </a:cxn>
              <a:cxn ang="0">
                <a:pos x="79" y="54"/>
              </a:cxn>
              <a:cxn ang="0">
                <a:pos x="4" y="16"/>
              </a:cxn>
              <a:cxn ang="0">
                <a:pos x="5" y="72"/>
              </a:cxn>
              <a:cxn ang="0">
                <a:pos x="45" y="146"/>
              </a:cxn>
              <a:cxn ang="0">
                <a:pos x="73" y="205"/>
              </a:cxn>
              <a:cxn ang="0">
                <a:pos x="135" y="284"/>
              </a:cxn>
              <a:cxn ang="0">
                <a:pos x="122" y="316"/>
              </a:cxn>
              <a:cxn ang="0">
                <a:pos x="133" y="370"/>
              </a:cxn>
              <a:cxn ang="0">
                <a:pos x="188" y="428"/>
              </a:cxn>
              <a:cxn ang="0">
                <a:pos x="259" y="456"/>
              </a:cxn>
              <a:cxn ang="0">
                <a:pos x="259" y="524"/>
              </a:cxn>
              <a:cxn ang="0">
                <a:pos x="335" y="581"/>
              </a:cxn>
              <a:cxn ang="0">
                <a:pos x="423" y="664"/>
              </a:cxn>
              <a:cxn ang="0">
                <a:pos x="471" y="720"/>
              </a:cxn>
              <a:cxn ang="0">
                <a:pos x="504" y="733"/>
              </a:cxn>
              <a:cxn ang="0">
                <a:pos x="542" y="755"/>
              </a:cxn>
              <a:cxn ang="0">
                <a:pos x="598" y="787"/>
              </a:cxn>
              <a:cxn ang="0">
                <a:pos x="685" y="795"/>
              </a:cxn>
              <a:cxn ang="0">
                <a:pos x="732" y="780"/>
              </a:cxn>
              <a:cxn ang="0">
                <a:pos x="779" y="764"/>
              </a:cxn>
              <a:cxn ang="0">
                <a:pos x="801" y="796"/>
              </a:cxn>
              <a:cxn ang="0">
                <a:pos x="813" y="857"/>
              </a:cxn>
              <a:cxn ang="0">
                <a:pos x="874" y="874"/>
              </a:cxn>
              <a:cxn ang="0">
                <a:pos x="1011" y="892"/>
              </a:cxn>
              <a:cxn ang="0">
                <a:pos x="1091" y="879"/>
              </a:cxn>
              <a:cxn ang="0">
                <a:pos x="1099" y="831"/>
              </a:cxn>
              <a:cxn ang="0">
                <a:pos x="1156" y="770"/>
              </a:cxn>
              <a:cxn ang="0">
                <a:pos x="1132" y="750"/>
              </a:cxn>
              <a:cxn ang="0">
                <a:pos x="1096" y="708"/>
              </a:cxn>
              <a:cxn ang="0">
                <a:pos x="1031" y="643"/>
              </a:cxn>
              <a:cxn ang="0">
                <a:pos x="1018" y="603"/>
              </a:cxn>
              <a:cxn ang="0">
                <a:pos x="1044" y="559"/>
              </a:cxn>
              <a:cxn ang="0">
                <a:pos x="1048" y="526"/>
              </a:cxn>
              <a:cxn ang="0">
                <a:pos x="1030" y="512"/>
              </a:cxn>
              <a:cxn ang="0">
                <a:pos x="983" y="507"/>
              </a:cxn>
              <a:cxn ang="0">
                <a:pos x="954" y="453"/>
              </a:cxn>
              <a:cxn ang="0">
                <a:pos x="937" y="373"/>
              </a:cxn>
              <a:cxn ang="0">
                <a:pos x="924" y="357"/>
              </a:cxn>
              <a:cxn ang="0">
                <a:pos x="940" y="334"/>
              </a:cxn>
              <a:cxn ang="0">
                <a:pos x="960" y="293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05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6589713" y="3052763"/>
            <a:ext cx="247650" cy="228600"/>
          </a:xfrm>
          <a:custGeom>
            <a:avLst/>
            <a:gdLst/>
            <a:ahLst/>
            <a:cxnLst>
              <a:cxn ang="0">
                <a:pos x="26" y="190"/>
              </a:cxn>
              <a:cxn ang="0">
                <a:pos x="37" y="177"/>
              </a:cxn>
              <a:cxn ang="0">
                <a:pos x="41" y="164"/>
              </a:cxn>
              <a:cxn ang="0">
                <a:pos x="39" y="129"/>
              </a:cxn>
              <a:cxn ang="0">
                <a:pos x="44" y="120"/>
              </a:cxn>
              <a:cxn ang="0">
                <a:pos x="55" y="112"/>
              </a:cxn>
              <a:cxn ang="0">
                <a:pos x="68" y="107"/>
              </a:cxn>
              <a:cxn ang="0">
                <a:pos x="80" y="104"/>
              </a:cxn>
              <a:cxn ang="0">
                <a:pos x="103" y="106"/>
              </a:cxn>
              <a:cxn ang="0">
                <a:pos x="124" y="109"/>
              </a:cxn>
              <a:cxn ang="0">
                <a:pos x="158" y="120"/>
              </a:cxn>
              <a:cxn ang="0">
                <a:pos x="184" y="135"/>
              </a:cxn>
              <a:cxn ang="0">
                <a:pos x="206" y="154"/>
              </a:cxn>
              <a:cxn ang="0">
                <a:pos x="254" y="92"/>
              </a:cxn>
              <a:cxn ang="0">
                <a:pos x="285" y="49"/>
              </a:cxn>
              <a:cxn ang="0">
                <a:pos x="538" y="43"/>
              </a:cxn>
              <a:cxn ang="0">
                <a:pos x="557" y="78"/>
              </a:cxn>
              <a:cxn ang="0">
                <a:pos x="562" y="98"/>
              </a:cxn>
              <a:cxn ang="0">
                <a:pos x="564" y="123"/>
              </a:cxn>
              <a:cxn ang="0">
                <a:pos x="568" y="151"/>
              </a:cxn>
              <a:cxn ang="0">
                <a:pos x="571" y="178"/>
              </a:cxn>
              <a:cxn ang="0">
                <a:pos x="564" y="180"/>
              </a:cxn>
              <a:cxn ang="0">
                <a:pos x="562" y="179"/>
              </a:cxn>
              <a:cxn ang="0">
                <a:pos x="558" y="184"/>
              </a:cxn>
              <a:cxn ang="0">
                <a:pos x="548" y="207"/>
              </a:cxn>
              <a:cxn ang="0">
                <a:pos x="534" y="225"/>
              </a:cxn>
              <a:cxn ang="0">
                <a:pos x="515" y="239"/>
              </a:cxn>
              <a:cxn ang="0">
                <a:pos x="494" y="249"/>
              </a:cxn>
              <a:cxn ang="0">
                <a:pos x="405" y="283"/>
              </a:cxn>
              <a:cxn ang="0">
                <a:pos x="347" y="307"/>
              </a:cxn>
              <a:cxn ang="0">
                <a:pos x="295" y="328"/>
              </a:cxn>
              <a:cxn ang="0">
                <a:pos x="245" y="345"/>
              </a:cxn>
              <a:cxn ang="0">
                <a:pos x="186" y="363"/>
              </a:cxn>
              <a:cxn ang="0">
                <a:pos x="167" y="371"/>
              </a:cxn>
              <a:cxn ang="0">
                <a:pos x="149" y="381"/>
              </a:cxn>
              <a:cxn ang="0">
                <a:pos x="119" y="403"/>
              </a:cxn>
              <a:cxn ang="0">
                <a:pos x="92" y="426"/>
              </a:cxn>
              <a:cxn ang="0">
                <a:pos x="67" y="443"/>
              </a:cxn>
              <a:cxn ang="0">
                <a:pos x="50" y="378"/>
              </a:cxn>
              <a:cxn ang="0">
                <a:pos x="33" y="313"/>
              </a:cxn>
              <a:cxn ang="0">
                <a:pos x="16" y="251"/>
              </a:cxn>
              <a:cxn ang="0">
                <a:pos x="0" y="196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06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6784975" y="2827338"/>
            <a:ext cx="120650" cy="120650"/>
          </a:xfrm>
          <a:custGeom>
            <a:avLst/>
            <a:gdLst/>
            <a:ahLst/>
            <a:cxnLst>
              <a:cxn ang="0">
                <a:pos x="0" y="111"/>
              </a:cxn>
              <a:cxn ang="0">
                <a:pos x="4" y="109"/>
              </a:cxn>
              <a:cxn ang="0">
                <a:pos x="7" y="109"/>
              </a:cxn>
              <a:cxn ang="0">
                <a:pos x="10" y="110"/>
              </a:cxn>
              <a:cxn ang="0">
                <a:pos x="11" y="111"/>
              </a:cxn>
              <a:cxn ang="0">
                <a:pos x="12" y="117"/>
              </a:cxn>
              <a:cxn ang="0">
                <a:pos x="13" y="123"/>
              </a:cxn>
              <a:cxn ang="0">
                <a:pos x="14" y="128"/>
              </a:cxn>
              <a:cxn ang="0">
                <a:pos x="16" y="131"/>
              </a:cxn>
              <a:cxn ang="0">
                <a:pos x="19" y="134"/>
              </a:cxn>
              <a:cxn ang="0">
                <a:pos x="24" y="136"/>
              </a:cxn>
              <a:cxn ang="0">
                <a:pos x="29" y="137"/>
              </a:cxn>
              <a:cxn ang="0">
                <a:pos x="37" y="138"/>
              </a:cxn>
              <a:cxn ang="0">
                <a:pos x="48" y="138"/>
              </a:cxn>
              <a:cxn ang="0">
                <a:pos x="60" y="136"/>
              </a:cxn>
              <a:cxn ang="0">
                <a:pos x="98" y="130"/>
              </a:cxn>
              <a:cxn ang="0">
                <a:pos x="129" y="122"/>
              </a:cxn>
              <a:cxn ang="0">
                <a:pos x="143" y="118"/>
              </a:cxn>
              <a:cxn ang="0">
                <a:pos x="156" y="114"/>
              </a:cxn>
              <a:cxn ang="0">
                <a:pos x="167" y="109"/>
              </a:cxn>
              <a:cxn ang="0">
                <a:pos x="178" y="103"/>
              </a:cxn>
              <a:cxn ang="0">
                <a:pos x="188" y="96"/>
              </a:cxn>
              <a:cxn ang="0">
                <a:pos x="198" y="87"/>
              </a:cxn>
              <a:cxn ang="0">
                <a:pos x="208" y="78"/>
              </a:cxn>
              <a:cxn ang="0">
                <a:pos x="219" y="65"/>
              </a:cxn>
              <a:cxn ang="0">
                <a:pos x="229" y="52"/>
              </a:cxn>
              <a:cxn ang="0">
                <a:pos x="241" y="37"/>
              </a:cxn>
              <a:cxn ang="0">
                <a:pos x="253" y="20"/>
              </a:cxn>
              <a:cxn ang="0">
                <a:pos x="266" y="0"/>
              </a:cxn>
              <a:cxn ang="0">
                <a:pos x="270" y="7"/>
              </a:cxn>
              <a:cxn ang="0">
                <a:pos x="274" y="13"/>
              </a:cxn>
              <a:cxn ang="0">
                <a:pos x="276" y="20"/>
              </a:cxn>
              <a:cxn ang="0">
                <a:pos x="279" y="27"/>
              </a:cxn>
              <a:cxn ang="0">
                <a:pos x="282" y="42"/>
              </a:cxn>
              <a:cxn ang="0">
                <a:pos x="286" y="62"/>
              </a:cxn>
              <a:cxn ang="0">
                <a:pos x="246" y="198"/>
              </a:cxn>
              <a:cxn ang="0">
                <a:pos x="226" y="228"/>
              </a:cxn>
              <a:cxn ang="0">
                <a:pos x="53" y="210"/>
              </a:cxn>
              <a:cxn ang="0">
                <a:pos x="0" y="111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07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6472238" y="2479676"/>
            <a:ext cx="222250" cy="263525"/>
          </a:xfrm>
          <a:custGeom>
            <a:avLst/>
            <a:gdLst/>
            <a:ahLst/>
            <a:cxnLst>
              <a:cxn ang="0">
                <a:pos x="478" y="370"/>
              </a:cxn>
              <a:cxn ang="0">
                <a:pos x="484" y="346"/>
              </a:cxn>
              <a:cxn ang="0">
                <a:pos x="483" y="329"/>
              </a:cxn>
              <a:cxn ang="0">
                <a:pos x="478" y="302"/>
              </a:cxn>
              <a:cxn ang="0">
                <a:pos x="455" y="299"/>
              </a:cxn>
              <a:cxn ang="0">
                <a:pos x="431" y="288"/>
              </a:cxn>
              <a:cxn ang="0">
                <a:pos x="407" y="274"/>
              </a:cxn>
              <a:cxn ang="0">
                <a:pos x="386" y="256"/>
              </a:cxn>
              <a:cxn ang="0">
                <a:pos x="366" y="237"/>
              </a:cxn>
              <a:cxn ang="0">
                <a:pos x="352" y="216"/>
              </a:cxn>
              <a:cxn ang="0">
                <a:pos x="342" y="196"/>
              </a:cxn>
              <a:cxn ang="0">
                <a:pos x="339" y="178"/>
              </a:cxn>
              <a:cxn ang="0">
                <a:pos x="341" y="162"/>
              </a:cxn>
              <a:cxn ang="0">
                <a:pos x="349" y="150"/>
              </a:cxn>
              <a:cxn ang="0">
                <a:pos x="365" y="136"/>
              </a:cxn>
              <a:cxn ang="0">
                <a:pos x="354" y="130"/>
              </a:cxn>
              <a:cxn ang="0">
                <a:pos x="341" y="119"/>
              </a:cxn>
              <a:cxn ang="0">
                <a:pos x="315" y="87"/>
              </a:cxn>
              <a:cxn ang="0">
                <a:pos x="292" y="51"/>
              </a:cxn>
              <a:cxn ang="0">
                <a:pos x="279" y="25"/>
              </a:cxn>
              <a:cxn ang="0">
                <a:pos x="260" y="24"/>
              </a:cxn>
              <a:cxn ang="0">
                <a:pos x="239" y="19"/>
              </a:cxn>
              <a:cxn ang="0">
                <a:pos x="219" y="11"/>
              </a:cxn>
              <a:cxn ang="0">
                <a:pos x="197" y="6"/>
              </a:cxn>
              <a:cxn ang="0">
                <a:pos x="170" y="3"/>
              </a:cxn>
              <a:cxn ang="0">
                <a:pos x="149" y="8"/>
              </a:cxn>
              <a:cxn ang="0">
                <a:pos x="114" y="41"/>
              </a:cxn>
              <a:cxn ang="0">
                <a:pos x="98" y="57"/>
              </a:cxn>
              <a:cxn ang="0">
                <a:pos x="93" y="64"/>
              </a:cxn>
              <a:cxn ang="0">
                <a:pos x="94" y="94"/>
              </a:cxn>
              <a:cxn ang="0">
                <a:pos x="95" y="140"/>
              </a:cxn>
              <a:cxn ang="0">
                <a:pos x="94" y="164"/>
              </a:cxn>
              <a:cxn ang="0">
                <a:pos x="86" y="180"/>
              </a:cxn>
              <a:cxn ang="0">
                <a:pos x="67" y="197"/>
              </a:cxn>
              <a:cxn ang="0">
                <a:pos x="40" y="214"/>
              </a:cxn>
              <a:cxn ang="0">
                <a:pos x="13" y="228"/>
              </a:cxn>
              <a:cxn ang="0">
                <a:pos x="2" y="246"/>
              </a:cxn>
              <a:cxn ang="0">
                <a:pos x="2" y="264"/>
              </a:cxn>
              <a:cxn ang="0">
                <a:pos x="0" y="278"/>
              </a:cxn>
              <a:cxn ang="0">
                <a:pos x="0" y="289"/>
              </a:cxn>
              <a:cxn ang="0">
                <a:pos x="7" y="301"/>
              </a:cxn>
              <a:cxn ang="0">
                <a:pos x="26" y="314"/>
              </a:cxn>
              <a:cxn ang="0">
                <a:pos x="62" y="331"/>
              </a:cxn>
              <a:cxn ang="0">
                <a:pos x="120" y="355"/>
              </a:cxn>
              <a:cxn ang="0">
                <a:pos x="180" y="374"/>
              </a:cxn>
              <a:cxn ang="0">
                <a:pos x="214" y="385"/>
              </a:cxn>
              <a:cxn ang="0">
                <a:pos x="237" y="400"/>
              </a:cxn>
              <a:cxn ang="0">
                <a:pos x="252" y="418"/>
              </a:cxn>
              <a:cxn ang="0">
                <a:pos x="262" y="435"/>
              </a:cxn>
              <a:cxn ang="0">
                <a:pos x="266" y="451"/>
              </a:cxn>
              <a:cxn ang="0">
                <a:pos x="270" y="469"/>
              </a:cxn>
              <a:cxn ang="0">
                <a:pos x="277" y="481"/>
              </a:cxn>
              <a:cxn ang="0">
                <a:pos x="287" y="489"/>
              </a:cxn>
              <a:cxn ang="0">
                <a:pos x="307" y="497"/>
              </a:cxn>
              <a:cxn ang="0">
                <a:pos x="328" y="503"/>
              </a:cxn>
              <a:cxn ang="0">
                <a:pos x="335" y="500"/>
              </a:cxn>
              <a:cxn ang="0">
                <a:pos x="346" y="499"/>
              </a:cxn>
              <a:cxn ang="0">
                <a:pos x="366" y="503"/>
              </a:cxn>
              <a:cxn ang="0">
                <a:pos x="383" y="505"/>
              </a:cxn>
              <a:cxn ang="0">
                <a:pos x="437" y="505"/>
              </a:cxn>
              <a:cxn ang="0">
                <a:pos x="465" y="449"/>
              </a:cxn>
              <a:cxn ang="0">
                <a:pos x="492" y="437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08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6972300" y="2439988"/>
            <a:ext cx="331788" cy="290512"/>
          </a:xfrm>
          <a:custGeom>
            <a:avLst/>
            <a:gdLst/>
            <a:ahLst/>
            <a:cxnLst>
              <a:cxn ang="0">
                <a:pos x="62" y="196"/>
              </a:cxn>
              <a:cxn ang="0">
                <a:pos x="93" y="190"/>
              </a:cxn>
              <a:cxn ang="0">
                <a:pos x="128" y="182"/>
              </a:cxn>
              <a:cxn ang="0">
                <a:pos x="175" y="151"/>
              </a:cxn>
              <a:cxn ang="0">
                <a:pos x="194" y="126"/>
              </a:cxn>
              <a:cxn ang="0">
                <a:pos x="199" y="88"/>
              </a:cxn>
              <a:cxn ang="0">
                <a:pos x="208" y="69"/>
              </a:cxn>
              <a:cxn ang="0">
                <a:pos x="240" y="60"/>
              </a:cxn>
              <a:cxn ang="0">
                <a:pos x="294" y="62"/>
              </a:cxn>
              <a:cxn ang="0">
                <a:pos x="329" y="71"/>
              </a:cxn>
              <a:cxn ang="0">
                <a:pos x="362" y="90"/>
              </a:cxn>
              <a:cxn ang="0">
                <a:pos x="386" y="93"/>
              </a:cxn>
              <a:cxn ang="0">
                <a:pos x="419" y="84"/>
              </a:cxn>
              <a:cxn ang="0">
                <a:pos x="460" y="61"/>
              </a:cxn>
              <a:cxn ang="0">
                <a:pos x="479" y="33"/>
              </a:cxn>
              <a:cxn ang="0">
                <a:pos x="508" y="4"/>
              </a:cxn>
              <a:cxn ang="0">
                <a:pos x="530" y="19"/>
              </a:cxn>
              <a:cxn ang="0">
                <a:pos x="550" y="45"/>
              </a:cxn>
              <a:cxn ang="0">
                <a:pos x="561" y="87"/>
              </a:cxn>
              <a:cxn ang="0">
                <a:pos x="570" y="101"/>
              </a:cxn>
              <a:cxn ang="0">
                <a:pos x="589" y="104"/>
              </a:cxn>
              <a:cxn ang="0">
                <a:pos x="622" y="73"/>
              </a:cxn>
              <a:cxn ang="0">
                <a:pos x="743" y="66"/>
              </a:cxn>
              <a:cxn ang="0">
                <a:pos x="759" y="87"/>
              </a:cxn>
              <a:cxn ang="0">
                <a:pos x="679" y="100"/>
              </a:cxn>
              <a:cxn ang="0">
                <a:pos x="605" y="112"/>
              </a:cxn>
              <a:cxn ang="0">
                <a:pos x="574" y="130"/>
              </a:cxn>
              <a:cxn ang="0">
                <a:pos x="571" y="147"/>
              </a:cxn>
              <a:cxn ang="0">
                <a:pos x="582" y="164"/>
              </a:cxn>
              <a:cxn ang="0">
                <a:pos x="601" y="180"/>
              </a:cxn>
              <a:cxn ang="0">
                <a:pos x="604" y="195"/>
              </a:cxn>
              <a:cxn ang="0">
                <a:pos x="594" y="213"/>
              </a:cxn>
              <a:cxn ang="0">
                <a:pos x="574" y="237"/>
              </a:cxn>
              <a:cxn ang="0">
                <a:pos x="565" y="255"/>
              </a:cxn>
              <a:cxn ang="0">
                <a:pos x="542" y="269"/>
              </a:cxn>
              <a:cxn ang="0">
                <a:pos x="519" y="310"/>
              </a:cxn>
              <a:cxn ang="0">
                <a:pos x="508" y="363"/>
              </a:cxn>
              <a:cxn ang="0">
                <a:pos x="497" y="425"/>
              </a:cxn>
              <a:cxn ang="0">
                <a:pos x="477" y="412"/>
              </a:cxn>
              <a:cxn ang="0">
                <a:pos x="460" y="407"/>
              </a:cxn>
              <a:cxn ang="0">
                <a:pos x="439" y="418"/>
              </a:cxn>
              <a:cxn ang="0">
                <a:pos x="411" y="440"/>
              </a:cxn>
              <a:cxn ang="0">
                <a:pos x="393" y="444"/>
              </a:cxn>
              <a:cxn ang="0">
                <a:pos x="375" y="463"/>
              </a:cxn>
              <a:cxn ang="0">
                <a:pos x="365" y="511"/>
              </a:cxn>
              <a:cxn ang="0">
                <a:pos x="350" y="525"/>
              </a:cxn>
              <a:cxn ang="0">
                <a:pos x="270" y="546"/>
              </a:cxn>
              <a:cxn ang="0">
                <a:pos x="194" y="554"/>
              </a:cxn>
              <a:cxn ang="0">
                <a:pos x="113" y="542"/>
              </a:cxn>
              <a:cxn ang="0">
                <a:pos x="95" y="518"/>
              </a:cxn>
              <a:cxn ang="0">
                <a:pos x="115" y="488"/>
              </a:cxn>
              <a:cxn ang="0">
                <a:pos x="125" y="462"/>
              </a:cxn>
              <a:cxn ang="0">
                <a:pos x="123" y="442"/>
              </a:cxn>
              <a:cxn ang="0">
                <a:pos x="111" y="433"/>
              </a:cxn>
              <a:cxn ang="0">
                <a:pos x="69" y="431"/>
              </a:cxn>
              <a:cxn ang="0">
                <a:pos x="52" y="421"/>
              </a:cxn>
              <a:cxn ang="0">
                <a:pos x="34" y="384"/>
              </a:cxn>
              <a:cxn ang="0">
                <a:pos x="19" y="309"/>
              </a:cxn>
              <a:cxn ang="0">
                <a:pos x="10" y="291"/>
              </a:cxn>
              <a:cxn ang="0">
                <a:pos x="0" y="280"/>
              </a:cxn>
              <a:cxn ang="0">
                <a:pos x="2" y="268"/>
              </a:cxn>
              <a:cxn ang="0">
                <a:pos x="22" y="248"/>
              </a:cxn>
              <a:cxn ang="0">
                <a:pos x="34" y="221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09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7004051" y="2489201"/>
            <a:ext cx="365125" cy="423863"/>
          </a:xfrm>
          <a:custGeom>
            <a:avLst/>
            <a:gdLst/>
            <a:ahLst/>
            <a:cxnLst>
              <a:cxn ang="0">
                <a:pos x="779" y="82"/>
              </a:cxn>
              <a:cxn ang="0">
                <a:pos x="707" y="29"/>
              </a:cxn>
              <a:cxn ang="0">
                <a:pos x="562" y="10"/>
              </a:cxn>
              <a:cxn ang="0">
                <a:pos x="499" y="29"/>
              </a:cxn>
              <a:cxn ang="0">
                <a:pos x="486" y="49"/>
              </a:cxn>
              <a:cxn ang="0">
                <a:pos x="497" y="71"/>
              </a:cxn>
              <a:cxn ang="0">
                <a:pos x="517" y="90"/>
              </a:cxn>
              <a:cxn ang="0">
                <a:pos x="516" y="111"/>
              </a:cxn>
              <a:cxn ang="0">
                <a:pos x="491" y="140"/>
              </a:cxn>
              <a:cxn ang="0">
                <a:pos x="480" y="162"/>
              </a:cxn>
              <a:cxn ang="0">
                <a:pos x="450" y="184"/>
              </a:cxn>
              <a:cxn ang="0">
                <a:pos x="427" y="243"/>
              </a:cxn>
              <a:cxn ang="0">
                <a:pos x="420" y="332"/>
              </a:cxn>
              <a:cxn ang="0">
                <a:pos x="392" y="319"/>
              </a:cxn>
              <a:cxn ang="0">
                <a:pos x="370" y="315"/>
              </a:cxn>
              <a:cxn ang="0">
                <a:pos x="338" y="339"/>
              </a:cxn>
              <a:cxn ang="0">
                <a:pos x="313" y="351"/>
              </a:cxn>
              <a:cxn ang="0">
                <a:pos x="290" y="370"/>
              </a:cxn>
              <a:cxn ang="0">
                <a:pos x="280" y="424"/>
              </a:cxn>
              <a:cxn ang="0">
                <a:pos x="235" y="442"/>
              </a:cxn>
              <a:cxn ang="0">
                <a:pos x="127" y="462"/>
              </a:cxn>
              <a:cxn ang="0">
                <a:pos x="26" y="449"/>
              </a:cxn>
              <a:cxn ang="0">
                <a:pos x="51" y="505"/>
              </a:cxn>
              <a:cxn ang="0">
                <a:pos x="96" y="540"/>
              </a:cxn>
              <a:cxn ang="0">
                <a:pos x="123" y="577"/>
              </a:cxn>
              <a:cxn ang="0">
                <a:pos x="142" y="596"/>
              </a:cxn>
              <a:cxn ang="0">
                <a:pos x="99" y="647"/>
              </a:cxn>
              <a:cxn ang="0">
                <a:pos x="87" y="671"/>
              </a:cxn>
              <a:cxn ang="0">
                <a:pos x="109" y="720"/>
              </a:cxn>
              <a:cxn ang="0">
                <a:pos x="222" y="710"/>
              </a:cxn>
              <a:cxn ang="0">
                <a:pos x="302" y="705"/>
              </a:cxn>
              <a:cxn ang="0">
                <a:pos x="330" y="721"/>
              </a:cxn>
              <a:cxn ang="0">
                <a:pos x="359" y="756"/>
              </a:cxn>
              <a:cxn ang="0">
                <a:pos x="408" y="785"/>
              </a:cxn>
              <a:cxn ang="0">
                <a:pos x="449" y="803"/>
              </a:cxn>
              <a:cxn ang="0">
                <a:pos x="460" y="791"/>
              </a:cxn>
              <a:cxn ang="0">
                <a:pos x="487" y="774"/>
              </a:cxn>
              <a:cxn ang="0">
                <a:pos x="554" y="764"/>
              </a:cxn>
              <a:cxn ang="0">
                <a:pos x="597" y="750"/>
              </a:cxn>
              <a:cxn ang="0">
                <a:pos x="618" y="727"/>
              </a:cxn>
              <a:cxn ang="0">
                <a:pos x="584" y="700"/>
              </a:cxn>
              <a:cxn ang="0">
                <a:pos x="542" y="641"/>
              </a:cxn>
              <a:cxn ang="0">
                <a:pos x="526" y="624"/>
              </a:cxn>
              <a:cxn ang="0">
                <a:pos x="526" y="578"/>
              </a:cxn>
              <a:cxn ang="0">
                <a:pos x="582" y="563"/>
              </a:cxn>
              <a:cxn ang="0">
                <a:pos x="622" y="531"/>
              </a:cxn>
              <a:cxn ang="0">
                <a:pos x="688" y="417"/>
              </a:cxn>
              <a:cxn ang="0">
                <a:pos x="730" y="368"/>
              </a:cxn>
              <a:cxn ang="0">
                <a:pos x="725" y="330"/>
              </a:cxn>
              <a:cxn ang="0">
                <a:pos x="729" y="305"/>
              </a:cxn>
              <a:cxn ang="0">
                <a:pos x="751" y="289"/>
              </a:cxn>
              <a:cxn ang="0">
                <a:pos x="670" y="207"/>
              </a:cxn>
              <a:cxn ang="0">
                <a:pos x="758" y="140"/>
              </a:cxn>
              <a:cxn ang="0">
                <a:pos x="805" y="123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10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7794626" y="2757489"/>
            <a:ext cx="220663" cy="585787"/>
          </a:xfrm>
          <a:custGeom>
            <a:avLst/>
            <a:gdLst/>
            <a:ahLst/>
            <a:cxnLst>
              <a:cxn ang="0">
                <a:pos x="438" y="1067"/>
              </a:cxn>
              <a:cxn ang="0">
                <a:pos x="443" y="1028"/>
              </a:cxn>
              <a:cxn ang="0">
                <a:pos x="399" y="1022"/>
              </a:cxn>
              <a:cxn ang="0">
                <a:pos x="405" y="957"/>
              </a:cxn>
              <a:cxn ang="0">
                <a:pos x="419" y="931"/>
              </a:cxn>
              <a:cxn ang="0">
                <a:pos x="413" y="899"/>
              </a:cxn>
              <a:cxn ang="0">
                <a:pos x="398" y="893"/>
              </a:cxn>
              <a:cxn ang="0">
                <a:pos x="382" y="838"/>
              </a:cxn>
              <a:cxn ang="0">
                <a:pos x="324" y="719"/>
              </a:cxn>
              <a:cxn ang="0">
                <a:pos x="296" y="703"/>
              </a:cxn>
              <a:cxn ang="0">
                <a:pos x="282" y="718"/>
              </a:cxn>
              <a:cxn ang="0">
                <a:pos x="226" y="742"/>
              </a:cxn>
              <a:cxn ang="0">
                <a:pos x="169" y="736"/>
              </a:cxn>
              <a:cxn ang="0">
                <a:pos x="133" y="567"/>
              </a:cxn>
              <a:cxn ang="0">
                <a:pos x="101" y="520"/>
              </a:cxn>
              <a:cxn ang="0">
                <a:pos x="51" y="502"/>
              </a:cxn>
              <a:cxn ang="0">
                <a:pos x="8" y="471"/>
              </a:cxn>
              <a:cxn ang="0">
                <a:pos x="23" y="445"/>
              </a:cxn>
              <a:cxn ang="0">
                <a:pos x="58" y="361"/>
              </a:cxn>
              <a:cxn ang="0">
                <a:pos x="67" y="277"/>
              </a:cxn>
              <a:cxn ang="0">
                <a:pos x="80" y="265"/>
              </a:cxn>
              <a:cxn ang="0">
                <a:pos x="113" y="258"/>
              </a:cxn>
              <a:cxn ang="0">
                <a:pos x="134" y="222"/>
              </a:cxn>
              <a:cxn ang="0">
                <a:pos x="140" y="117"/>
              </a:cxn>
              <a:cxn ang="0">
                <a:pos x="159" y="98"/>
              </a:cxn>
              <a:cxn ang="0">
                <a:pos x="213" y="74"/>
              </a:cxn>
              <a:cxn ang="0">
                <a:pos x="234" y="21"/>
              </a:cxn>
              <a:cxn ang="0">
                <a:pos x="277" y="31"/>
              </a:cxn>
              <a:cxn ang="0">
                <a:pos x="312" y="49"/>
              </a:cxn>
              <a:cxn ang="0">
                <a:pos x="337" y="122"/>
              </a:cxn>
              <a:cxn ang="0">
                <a:pos x="335" y="167"/>
              </a:cxn>
              <a:cxn ang="0">
                <a:pos x="300" y="216"/>
              </a:cxn>
              <a:cxn ang="0">
                <a:pos x="293" y="245"/>
              </a:cxn>
              <a:cxn ang="0">
                <a:pos x="309" y="261"/>
              </a:cxn>
              <a:cxn ang="0">
                <a:pos x="346" y="270"/>
              </a:cxn>
              <a:cxn ang="0">
                <a:pos x="371" y="291"/>
              </a:cxn>
              <a:cxn ang="0">
                <a:pos x="398" y="345"/>
              </a:cxn>
              <a:cxn ang="0">
                <a:pos x="430" y="400"/>
              </a:cxn>
              <a:cxn ang="0">
                <a:pos x="464" y="418"/>
              </a:cxn>
              <a:cxn ang="0">
                <a:pos x="505" y="418"/>
              </a:cxn>
              <a:cxn ang="0">
                <a:pos x="476" y="494"/>
              </a:cxn>
              <a:cxn ang="0">
                <a:pos x="427" y="510"/>
              </a:cxn>
              <a:cxn ang="0">
                <a:pos x="383" y="528"/>
              </a:cxn>
              <a:cxn ang="0">
                <a:pos x="360" y="572"/>
              </a:cxn>
              <a:cxn ang="0">
                <a:pos x="370" y="637"/>
              </a:cxn>
              <a:cxn ang="0">
                <a:pos x="402" y="683"/>
              </a:cxn>
              <a:cxn ang="0">
                <a:pos x="430" y="735"/>
              </a:cxn>
              <a:cxn ang="0">
                <a:pos x="428" y="776"/>
              </a:cxn>
              <a:cxn ang="0">
                <a:pos x="419" y="801"/>
              </a:cxn>
              <a:cxn ang="0">
                <a:pos x="435" y="851"/>
              </a:cxn>
              <a:cxn ang="0">
                <a:pos x="483" y="965"/>
              </a:cxn>
              <a:cxn ang="0">
                <a:pos x="458" y="1082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11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5118101" y="3267075"/>
            <a:ext cx="80963" cy="58738"/>
          </a:xfrm>
          <a:custGeom>
            <a:avLst/>
            <a:gdLst/>
            <a:ahLst/>
            <a:cxnLst>
              <a:cxn ang="0">
                <a:pos x="180" y="7"/>
              </a:cxn>
              <a:cxn ang="0">
                <a:pos x="171" y="24"/>
              </a:cxn>
              <a:cxn ang="0">
                <a:pos x="163" y="39"/>
              </a:cxn>
              <a:cxn ang="0">
                <a:pos x="152" y="53"/>
              </a:cxn>
              <a:cxn ang="0">
                <a:pos x="141" y="66"/>
              </a:cxn>
              <a:cxn ang="0">
                <a:pos x="129" y="80"/>
              </a:cxn>
              <a:cxn ang="0">
                <a:pos x="115" y="92"/>
              </a:cxn>
              <a:cxn ang="0">
                <a:pos x="101" y="102"/>
              </a:cxn>
              <a:cxn ang="0">
                <a:pos x="87" y="112"/>
              </a:cxn>
              <a:cxn ang="0">
                <a:pos x="82" y="107"/>
              </a:cxn>
              <a:cxn ang="0">
                <a:pos x="79" y="101"/>
              </a:cxn>
              <a:cxn ang="0">
                <a:pos x="76" y="95"/>
              </a:cxn>
              <a:cxn ang="0">
                <a:pos x="74" y="88"/>
              </a:cxn>
              <a:cxn ang="0">
                <a:pos x="70" y="81"/>
              </a:cxn>
              <a:cxn ang="0">
                <a:pos x="68" y="74"/>
              </a:cxn>
              <a:cxn ang="0">
                <a:pos x="65" y="69"/>
              </a:cxn>
              <a:cxn ang="0">
                <a:pos x="60" y="63"/>
              </a:cxn>
              <a:cxn ang="0">
                <a:pos x="45" y="48"/>
              </a:cxn>
              <a:cxn ang="0">
                <a:pos x="36" y="38"/>
              </a:cxn>
              <a:cxn ang="0">
                <a:pos x="30" y="33"/>
              </a:cxn>
              <a:cxn ang="0">
                <a:pos x="25" y="31"/>
              </a:cxn>
              <a:cxn ang="0">
                <a:pos x="18" y="30"/>
              </a:cxn>
              <a:cxn ang="0">
                <a:pos x="0" y="26"/>
              </a:cxn>
              <a:cxn ang="0">
                <a:pos x="26" y="14"/>
              </a:cxn>
              <a:cxn ang="0">
                <a:pos x="41" y="9"/>
              </a:cxn>
              <a:cxn ang="0">
                <a:pos x="56" y="5"/>
              </a:cxn>
              <a:cxn ang="0">
                <a:pos x="74" y="3"/>
              </a:cxn>
              <a:cxn ang="0">
                <a:pos x="93" y="1"/>
              </a:cxn>
              <a:cxn ang="0">
                <a:pos x="114" y="0"/>
              </a:cxn>
              <a:cxn ang="0">
                <a:pos x="135" y="1"/>
              </a:cxn>
              <a:cxn ang="0">
                <a:pos x="157" y="3"/>
              </a:cxn>
              <a:cxn ang="0">
                <a:pos x="180" y="7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12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5202238" y="3349626"/>
            <a:ext cx="74612" cy="100013"/>
          </a:xfrm>
          <a:custGeom>
            <a:avLst/>
            <a:gdLst/>
            <a:ahLst/>
            <a:cxnLst>
              <a:cxn ang="0">
                <a:pos x="0" y="68"/>
              </a:cxn>
              <a:cxn ang="0">
                <a:pos x="27" y="42"/>
              </a:cxn>
              <a:cxn ang="0">
                <a:pos x="51" y="21"/>
              </a:cxn>
              <a:cxn ang="0">
                <a:pos x="56" y="16"/>
              </a:cxn>
              <a:cxn ang="0">
                <a:pos x="63" y="12"/>
              </a:cxn>
              <a:cxn ang="0">
                <a:pos x="70" y="8"/>
              </a:cxn>
              <a:cxn ang="0">
                <a:pos x="76" y="6"/>
              </a:cxn>
              <a:cxn ang="0">
                <a:pos x="83" y="3"/>
              </a:cxn>
              <a:cxn ang="0">
                <a:pos x="90" y="2"/>
              </a:cxn>
              <a:cxn ang="0">
                <a:pos x="98" y="1"/>
              </a:cxn>
              <a:cxn ang="0">
                <a:pos x="107" y="0"/>
              </a:cxn>
              <a:cxn ang="0">
                <a:pos x="116" y="1"/>
              </a:cxn>
              <a:cxn ang="0">
                <a:pos x="124" y="2"/>
              </a:cxn>
              <a:cxn ang="0">
                <a:pos x="132" y="5"/>
              </a:cxn>
              <a:cxn ang="0">
                <a:pos x="139" y="8"/>
              </a:cxn>
              <a:cxn ang="0">
                <a:pos x="145" y="13"/>
              </a:cxn>
              <a:cxn ang="0">
                <a:pos x="151" y="19"/>
              </a:cxn>
              <a:cxn ang="0">
                <a:pos x="155" y="24"/>
              </a:cxn>
              <a:cxn ang="0">
                <a:pos x="160" y="30"/>
              </a:cxn>
              <a:cxn ang="0">
                <a:pos x="163" y="37"/>
              </a:cxn>
              <a:cxn ang="0">
                <a:pos x="166" y="43"/>
              </a:cxn>
              <a:cxn ang="0">
                <a:pos x="168" y="50"/>
              </a:cxn>
              <a:cxn ang="0">
                <a:pos x="169" y="57"/>
              </a:cxn>
              <a:cxn ang="0">
                <a:pos x="172" y="72"/>
              </a:cxn>
              <a:cxn ang="0">
                <a:pos x="173" y="87"/>
              </a:cxn>
              <a:cxn ang="0">
                <a:pos x="157" y="114"/>
              </a:cxn>
              <a:cxn ang="0">
                <a:pos x="146" y="137"/>
              </a:cxn>
              <a:cxn ang="0">
                <a:pos x="139" y="148"/>
              </a:cxn>
              <a:cxn ang="0">
                <a:pos x="130" y="160"/>
              </a:cxn>
              <a:cxn ang="0">
                <a:pos x="117" y="174"/>
              </a:cxn>
              <a:cxn ang="0">
                <a:pos x="99" y="192"/>
              </a:cxn>
              <a:cxn ang="0">
                <a:pos x="86" y="183"/>
              </a:cxn>
              <a:cxn ang="0">
                <a:pos x="74" y="176"/>
              </a:cxn>
              <a:cxn ang="0">
                <a:pos x="63" y="169"/>
              </a:cxn>
              <a:cxn ang="0">
                <a:pos x="54" y="163"/>
              </a:cxn>
              <a:cxn ang="0">
                <a:pos x="46" y="156"/>
              </a:cxn>
              <a:cxn ang="0">
                <a:pos x="40" y="150"/>
              </a:cxn>
              <a:cxn ang="0">
                <a:pos x="34" y="144"/>
              </a:cxn>
              <a:cxn ang="0">
                <a:pos x="30" y="137"/>
              </a:cxn>
              <a:cxn ang="0">
                <a:pos x="22" y="123"/>
              </a:cxn>
              <a:cxn ang="0">
                <a:pos x="16" y="107"/>
              </a:cxn>
              <a:cxn ang="0">
                <a:pos x="9" y="90"/>
              </a:cxn>
              <a:cxn ang="0">
                <a:pos x="0" y="68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13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5245101" y="3400426"/>
            <a:ext cx="104775" cy="131763"/>
          </a:xfrm>
          <a:custGeom>
            <a:avLst/>
            <a:gdLst/>
            <a:ahLst/>
            <a:cxnLst>
              <a:cxn ang="0">
                <a:pos x="74" y="0"/>
              </a:cxn>
              <a:cxn ang="0">
                <a:pos x="83" y="2"/>
              </a:cxn>
              <a:cxn ang="0">
                <a:pos x="89" y="3"/>
              </a:cxn>
              <a:cxn ang="0">
                <a:pos x="95" y="3"/>
              </a:cxn>
              <a:cxn ang="0">
                <a:pos x="99" y="2"/>
              </a:cxn>
              <a:cxn ang="0">
                <a:pos x="106" y="1"/>
              </a:cxn>
              <a:cxn ang="0">
                <a:pos x="113" y="0"/>
              </a:cxn>
              <a:cxn ang="0">
                <a:pos x="125" y="17"/>
              </a:cxn>
              <a:cxn ang="0">
                <a:pos x="140" y="37"/>
              </a:cxn>
              <a:cxn ang="0">
                <a:pos x="144" y="42"/>
              </a:cxn>
              <a:cxn ang="0">
                <a:pos x="148" y="46"/>
              </a:cxn>
              <a:cxn ang="0">
                <a:pos x="153" y="49"/>
              </a:cxn>
              <a:cxn ang="0">
                <a:pos x="157" y="52"/>
              </a:cxn>
              <a:cxn ang="0">
                <a:pos x="163" y="54"/>
              </a:cxn>
              <a:cxn ang="0">
                <a:pos x="168" y="56"/>
              </a:cxn>
              <a:cxn ang="0">
                <a:pos x="174" y="56"/>
              </a:cxn>
              <a:cxn ang="0">
                <a:pos x="180" y="56"/>
              </a:cxn>
              <a:cxn ang="0">
                <a:pos x="180" y="80"/>
              </a:cxn>
              <a:cxn ang="0">
                <a:pos x="193" y="103"/>
              </a:cxn>
              <a:cxn ang="0">
                <a:pos x="212" y="128"/>
              </a:cxn>
              <a:cxn ang="0">
                <a:pos x="215" y="135"/>
              </a:cxn>
              <a:cxn ang="0">
                <a:pos x="220" y="142"/>
              </a:cxn>
              <a:cxn ang="0">
                <a:pos x="223" y="151"/>
              </a:cxn>
              <a:cxn ang="0">
                <a:pos x="226" y="160"/>
              </a:cxn>
              <a:cxn ang="0">
                <a:pos x="230" y="170"/>
              </a:cxn>
              <a:cxn ang="0">
                <a:pos x="232" y="180"/>
              </a:cxn>
              <a:cxn ang="0">
                <a:pos x="233" y="191"/>
              </a:cxn>
              <a:cxn ang="0">
                <a:pos x="233" y="204"/>
              </a:cxn>
              <a:cxn ang="0">
                <a:pos x="232" y="216"/>
              </a:cxn>
              <a:cxn ang="0">
                <a:pos x="230" y="228"/>
              </a:cxn>
              <a:cxn ang="0">
                <a:pos x="227" y="240"/>
              </a:cxn>
              <a:cxn ang="0">
                <a:pos x="226" y="252"/>
              </a:cxn>
              <a:cxn ang="0">
                <a:pos x="222" y="252"/>
              </a:cxn>
              <a:cxn ang="0">
                <a:pos x="215" y="250"/>
              </a:cxn>
              <a:cxn ang="0">
                <a:pos x="208" y="246"/>
              </a:cxn>
              <a:cxn ang="0">
                <a:pos x="198" y="241"/>
              </a:cxn>
              <a:cxn ang="0">
                <a:pos x="176" y="226"/>
              </a:cxn>
              <a:cxn ang="0">
                <a:pos x="151" y="208"/>
              </a:cxn>
              <a:cxn ang="0">
                <a:pos x="125" y="186"/>
              </a:cxn>
              <a:cxn ang="0">
                <a:pos x="100" y="165"/>
              </a:cxn>
              <a:cxn ang="0">
                <a:pos x="78" y="145"/>
              </a:cxn>
              <a:cxn ang="0">
                <a:pos x="61" y="129"/>
              </a:cxn>
              <a:cxn ang="0">
                <a:pos x="55" y="125"/>
              </a:cxn>
              <a:cxn ang="0">
                <a:pos x="48" y="120"/>
              </a:cxn>
              <a:cxn ang="0">
                <a:pos x="41" y="116"/>
              </a:cxn>
              <a:cxn ang="0">
                <a:pos x="33" y="112"/>
              </a:cxn>
              <a:cxn ang="0">
                <a:pos x="17" y="104"/>
              </a:cxn>
              <a:cxn ang="0">
                <a:pos x="0" y="99"/>
              </a:cxn>
              <a:cxn ang="0">
                <a:pos x="40" y="63"/>
              </a:cxn>
              <a:cxn ang="0">
                <a:pos x="59" y="43"/>
              </a:cxn>
              <a:cxn ang="0">
                <a:pos x="65" y="33"/>
              </a:cxn>
              <a:cxn ang="0">
                <a:pos x="69" y="25"/>
              </a:cxn>
              <a:cxn ang="0">
                <a:pos x="72" y="14"/>
              </a:cxn>
              <a:cxn ang="0">
                <a:pos x="74" y="0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14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5459414" y="3319463"/>
            <a:ext cx="104775" cy="201612"/>
          </a:xfrm>
          <a:custGeom>
            <a:avLst/>
            <a:gdLst/>
            <a:ahLst/>
            <a:cxnLst>
              <a:cxn ang="0">
                <a:pos x="13" y="376"/>
              </a:cxn>
              <a:cxn ang="0">
                <a:pos x="14" y="367"/>
              </a:cxn>
              <a:cxn ang="0">
                <a:pos x="15" y="359"/>
              </a:cxn>
              <a:cxn ang="0">
                <a:pos x="18" y="351"/>
              </a:cxn>
              <a:cxn ang="0">
                <a:pos x="20" y="344"/>
              </a:cxn>
              <a:cxn ang="0">
                <a:pos x="25" y="333"/>
              </a:cxn>
              <a:cxn ang="0">
                <a:pos x="26" y="327"/>
              </a:cxn>
              <a:cxn ang="0">
                <a:pos x="25" y="321"/>
              </a:cxn>
              <a:cxn ang="0">
                <a:pos x="23" y="314"/>
              </a:cxn>
              <a:cxn ang="0">
                <a:pos x="19" y="305"/>
              </a:cxn>
              <a:cxn ang="0">
                <a:pos x="13" y="295"/>
              </a:cxn>
              <a:cxn ang="0">
                <a:pos x="9" y="285"/>
              </a:cxn>
              <a:cxn ang="0">
                <a:pos x="4" y="275"/>
              </a:cxn>
              <a:cxn ang="0">
                <a:pos x="1" y="267"/>
              </a:cxn>
              <a:cxn ang="0">
                <a:pos x="0" y="259"/>
              </a:cxn>
              <a:cxn ang="0">
                <a:pos x="1" y="251"/>
              </a:cxn>
              <a:cxn ang="0">
                <a:pos x="2" y="243"/>
              </a:cxn>
              <a:cxn ang="0">
                <a:pos x="3" y="236"/>
              </a:cxn>
              <a:cxn ang="0">
                <a:pos x="6" y="230"/>
              </a:cxn>
              <a:cxn ang="0">
                <a:pos x="11" y="218"/>
              </a:cxn>
              <a:cxn ang="0">
                <a:pos x="19" y="207"/>
              </a:cxn>
              <a:cxn ang="0">
                <a:pos x="26" y="197"/>
              </a:cxn>
              <a:cxn ang="0">
                <a:pos x="34" y="185"/>
              </a:cxn>
              <a:cxn ang="0">
                <a:pos x="41" y="173"/>
              </a:cxn>
              <a:cxn ang="0">
                <a:pos x="47" y="160"/>
              </a:cxn>
              <a:cxn ang="0">
                <a:pos x="26" y="73"/>
              </a:cxn>
              <a:cxn ang="0">
                <a:pos x="26" y="50"/>
              </a:cxn>
              <a:cxn ang="0">
                <a:pos x="24" y="33"/>
              </a:cxn>
              <a:cxn ang="0">
                <a:pos x="24" y="25"/>
              </a:cxn>
              <a:cxn ang="0">
                <a:pos x="24" y="16"/>
              </a:cxn>
              <a:cxn ang="0">
                <a:pos x="25" y="8"/>
              </a:cxn>
              <a:cxn ang="0">
                <a:pos x="26" y="0"/>
              </a:cxn>
              <a:cxn ang="0">
                <a:pos x="180" y="0"/>
              </a:cxn>
              <a:cxn ang="0">
                <a:pos x="220" y="129"/>
              </a:cxn>
              <a:cxn ang="0">
                <a:pos x="220" y="210"/>
              </a:cxn>
              <a:cxn ang="0">
                <a:pos x="220" y="220"/>
              </a:cxn>
              <a:cxn ang="0">
                <a:pos x="221" y="230"/>
              </a:cxn>
              <a:cxn ang="0">
                <a:pos x="223" y="240"/>
              </a:cxn>
              <a:cxn ang="0">
                <a:pos x="225" y="250"/>
              </a:cxn>
              <a:cxn ang="0">
                <a:pos x="228" y="259"/>
              </a:cxn>
              <a:cxn ang="0">
                <a:pos x="234" y="268"/>
              </a:cxn>
              <a:cxn ang="0">
                <a:pos x="239" y="278"/>
              </a:cxn>
              <a:cxn ang="0">
                <a:pos x="246" y="289"/>
              </a:cxn>
              <a:cxn ang="0">
                <a:pos x="224" y="295"/>
              </a:cxn>
              <a:cxn ang="0">
                <a:pos x="202" y="302"/>
              </a:cxn>
              <a:cxn ang="0">
                <a:pos x="181" y="310"/>
              </a:cxn>
              <a:cxn ang="0">
                <a:pos x="160" y="319"/>
              </a:cxn>
              <a:cxn ang="0">
                <a:pos x="141" y="328"/>
              </a:cxn>
              <a:cxn ang="0">
                <a:pos x="120" y="338"/>
              </a:cxn>
              <a:cxn ang="0">
                <a:pos x="100" y="347"/>
              </a:cxn>
              <a:cxn ang="0">
                <a:pos x="80" y="358"/>
              </a:cxn>
              <a:cxn ang="0">
                <a:pos x="75" y="363"/>
              </a:cxn>
              <a:cxn ang="0">
                <a:pos x="69" y="367"/>
              </a:cxn>
              <a:cxn ang="0">
                <a:pos x="62" y="372"/>
              </a:cxn>
              <a:cxn ang="0">
                <a:pos x="54" y="376"/>
              </a:cxn>
              <a:cxn ang="0">
                <a:pos x="46" y="379"/>
              </a:cxn>
              <a:cxn ang="0">
                <a:pos x="36" y="380"/>
              </a:cxn>
              <a:cxn ang="0">
                <a:pos x="31" y="380"/>
              </a:cxn>
              <a:cxn ang="0">
                <a:pos x="25" y="379"/>
              </a:cxn>
              <a:cxn ang="0">
                <a:pos x="20" y="378"/>
              </a:cxn>
              <a:cxn ang="0">
                <a:pos x="13" y="376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15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5111751" y="3235325"/>
            <a:ext cx="87313" cy="58738"/>
          </a:xfrm>
          <a:custGeom>
            <a:avLst/>
            <a:gdLst/>
            <a:ahLst/>
            <a:cxnLst>
              <a:cxn ang="0">
                <a:pos x="7" y="20"/>
              </a:cxn>
              <a:cxn ang="0">
                <a:pos x="38" y="11"/>
              </a:cxn>
              <a:cxn ang="0">
                <a:pos x="67" y="5"/>
              </a:cxn>
              <a:cxn ang="0">
                <a:pos x="80" y="3"/>
              </a:cxn>
              <a:cxn ang="0">
                <a:pos x="94" y="2"/>
              </a:cxn>
              <a:cxn ang="0">
                <a:pos x="110" y="1"/>
              </a:cxn>
              <a:cxn ang="0">
                <a:pos x="126" y="0"/>
              </a:cxn>
              <a:cxn ang="0">
                <a:pos x="138" y="1"/>
              </a:cxn>
              <a:cxn ang="0">
                <a:pos x="149" y="1"/>
              </a:cxn>
              <a:cxn ang="0">
                <a:pos x="160" y="2"/>
              </a:cxn>
              <a:cxn ang="0">
                <a:pos x="169" y="4"/>
              </a:cxn>
              <a:cxn ang="0">
                <a:pos x="178" y="6"/>
              </a:cxn>
              <a:cxn ang="0">
                <a:pos x="184" y="11"/>
              </a:cxn>
              <a:cxn ang="0">
                <a:pos x="187" y="13"/>
              </a:cxn>
              <a:cxn ang="0">
                <a:pos x="189" y="18"/>
              </a:cxn>
              <a:cxn ang="0">
                <a:pos x="191" y="21"/>
              </a:cxn>
              <a:cxn ang="0">
                <a:pos x="193" y="26"/>
              </a:cxn>
              <a:cxn ang="0">
                <a:pos x="183" y="27"/>
              </a:cxn>
              <a:cxn ang="0">
                <a:pos x="173" y="28"/>
              </a:cxn>
              <a:cxn ang="0">
                <a:pos x="165" y="28"/>
              </a:cxn>
              <a:cxn ang="0">
                <a:pos x="156" y="28"/>
              </a:cxn>
              <a:cxn ang="0">
                <a:pos x="138" y="27"/>
              </a:cxn>
              <a:cxn ang="0">
                <a:pos x="120" y="26"/>
              </a:cxn>
              <a:cxn ang="0">
                <a:pos x="103" y="26"/>
              </a:cxn>
              <a:cxn ang="0">
                <a:pos x="89" y="28"/>
              </a:cxn>
              <a:cxn ang="0">
                <a:pos x="76" y="30"/>
              </a:cxn>
              <a:cxn ang="0">
                <a:pos x="63" y="32"/>
              </a:cxn>
              <a:cxn ang="0">
                <a:pos x="49" y="34"/>
              </a:cxn>
              <a:cxn ang="0">
                <a:pos x="35" y="36"/>
              </a:cxn>
              <a:cxn ang="0">
                <a:pos x="19" y="37"/>
              </a:cxn>
              <a:cxn ang="0">
                <a:pos x="0" y="38"/>
              </a:cxn>
              <a:cxn ang="0">
                <a:pos x="0" y="33"/>
              </a:cxn>
              <a:cxn ang="0">
                <a:pos x="1" y="29"/>
              </a:cxn>
              <a:cxn ang="0">
                <a:pos x="3" y="24"/>
              </a:cxn>
              <a:cxn ang="0">
                <a:pos x="7" y="20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16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5537201" y="3313114"/>
            <a:ext cx="42863" cy="155575"/>
          </a:xfrm>
          <a:custGeom>
            <a:avLst/>
            <a:gdLst/>
            <a:ahLst/>
            <a:cxnLst>
              <a:cxn ang="0">
                <a:pos x="53" y="12"/>
              </a:cxn>
              <a:cxn ang="0">
                <a:pos x="59" y="12"/>
              </a:cxn>
              <a:cxn ang="0">
                <a:pos x="59" y="19"/>
              </a:cxn>
              <a:cxn ang="0">
                <a:pos x="62" y="26"/>
              </a:cxn>
              <a:cxn ang="0">
                <a:pos x="63" y="33"/>
              </a:cxn>
              <a:cxn ang="0">
                <a:pos x="66" y="42"/>
              </a:cxn>
              <a:cxn ang="0">
                <a:pos x="72" y="58"/>
              </a:cxn>
              <a:cxn ang="0">
                <a:pos x="79" y="75"/>
              </a:cxn>
              <a:cxn ang="0">
                <a:pos x="87" y="93"/>
              </a:cxn>
              <a:cxn ang="0">
                <a:pos x="93" y="111"/>
              </a:cxn>
              <a:cxn ang="0">
                <a:pos x="96" y="120"/>
              </a:cxn>
              <a:cxn ang="0">
                <a:pos x="98" y="129"/>
              </a:cxn>
              <a:cxn ang="0">
                <a:pos x="99" y="138"/>
              </a:cxn>
              <a:cxn ang="0">
                <a:pos x="99" y="148"/>
              </a:cxn>
              <a:cxn ang="0">
                <a:pos x="99" y="289"/>
              </a:cxn>
              <a:cxn ang="0">
                <a:pos x="89" y="290"/>
              </a:cxn>
              <a:cxn ang="0">
                <a:pos x="80" y="293"/>
              </a:cxn>
              <a:cxn ang="0">
                <a:pos x="73" y="297"/>
              </a:cxn>
              <a:cxn ang="0">
                <a:pos x="66" y="301"/>
              </a:cxn>
              <a:cxn ang="0">
                <a:pos x="59" y="290"/>
              </a:cxn>
              <a:cxn ang="0">
                <a:pos x="54" y="280"/>
              </a:cxn>
              <a:cxn ang="0">
                <a:pos x="48" y="271"/>
              </a:cxn>
              <a:cxn ang="0">
                <a:pos x="45" y="262"/>
              </a:cxn>
              <a:cxn ang="0">
                <a:pos x="43" y="252"/>
              </a:cxn>
              <a:cxn ang="0">
                <a:pos x="41" y="242"/>
              </a:cxn>
              <a:cxn ang="0">
                <a:pos x="40" y="232"/>
              </a:cxn>
              <a:cxn ang="0">
                <a:pos x="40" y="222"/>
              </a:cxn>
              <a:cxn ang="0">
                <a:pos x="40" y="141"/>
              </a:cxn>
              <a:cxn ang="0">
                <a:pos x="0" y="6"/>
              </a:cxn>
              <a:cxn ang="0">
                <a:pos x="5" y="2"/>
              </a:cxn>
              <a:cxn ang="0">
                <a:pos x="10" y="0"/>
              </a:cxn>
              <a:cxn ang="0">
                <a:pos x="14" y="0"/>
              </a:cxn>
              <a:cxn ang="0">
                <a:pos x="20" y="0"/>
              </a:cxn>
              <a:cxn ang="0">
                <a:pos x="26" y="0"/>
              </a:cxn>
              <a:cxn ang="0">
                <a:pos x="32" y="2"/>
              </a:cxn>
              <a:cxn ang="0">
                <a:pos x="37" y="4"/>
              </a:cxn>
              <a:cxn ang="0">
                <a:pos x="41" y="6"/>
              </a:cxn>
              <a:cxn ang="0">
                <a:pos x="47" y="10"/>
              </a:cxn>
              <a:cxn ang="0">
                <a:pos x="53" y="12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17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5562600" y="3275013"/>
            <a:ext cx="76200" cy="188912"/>
          </a:xfrm>
          <a:custGeom>
            <a:avLst/>
            <a:gdLst/>
            <a:ahLst/>
            <a:cxnLst>
              <a:cxn ang="0">
                <a:pos x="0" y="80"/>
              </a:cxn>
              <a:cxn ang="0">
                <a:pos x="9" y="72"/>
              </a:cxn>
              <a:cxn ang="0">
                <a:pos x="17" y="65"/>
              </a:cxn>
              <a:cxn ang="0">
                <a:pos x="25" y="60"/>
              </a:cxn>
              <a:cxn ang="0">
                <a:pos x="33" y="56"/>
              </a:cxn>
              <a:cxn ang="0">
                <a:pos x="40" y="50"/>
              </a:cxn>
              <a:cxn ang="0">
                <a:pos x="67" y="50"/>
              </a:cxn>
              <a:cxn ang="0">
                <a:pos x="94" y="0"/>
              </a:cxn>
              <a:cxn ang="0">
                <a:pos x="101" y="3"/>
              </a:cxn>
              <a:cxn ang="0">
                <a:pos x="108" y="7"/>
              </a:cxn>
              <a:cxn ang="0">
                <a:pos x="116" y="12"/>
              </a:cxn>
              <a:cxn ang="0">
                <a:pos x="123" y="18"/>
              </a:cxn>
              <a:cxn ang="0">
                <a:pos x="131" y="22"/>
              </a:cxn>
              <a:cxn ang="0">
                <a:pos x="139" y="27"/>
              </a:cxn>
              <a:cxn ang="0">
                <a:pos x="145" y="29"/>
              </a:cxn>
              <a:cxn ang="0">
                <a:pos x="153" y="30"/>
              </a:cxn>
              <a:cxn ang="0">
                <a:pos x="163" y="39"/>
              </a:cxn>
              <a:cxn ang="0">
                <a:pos x="173" y="50"/>
              </a:cxn>
              <a:cxn ang="0">
                <a:pos x="173" y="61"/>
              </a:cxn>
              <a:cxn ang="0">
                <a:pos x="173" y="69"/>
              </a:cxn>
              <a:cxn ang="0">
                <a:pos x="173" y="80"/>
              </a:cxn>
              <a:cxn ang="0">
                <a:pos x="173" y="98"/>
              </a:cxn>
              <a:cxn ang="0">
                <a:pos x="173" y="109"/>
              </a:cxn>
              <a:cxn ang="0">
                <a:pos x="171" y="118"/>
              </a:cxn>
              <a:cxn ang="0">
                <a:pos x="167" y="127"/>
              </a:cxn>
              <a:cxn ang="0">
                <a:pos x="163" y="135"/>
              </a:cxn>
              <a:cxn ang="0">
                <a:pos x="152" y="151"/>
              </a:cxn>
              <a:cxn ang="0">
                <a:pos x="140" y="167"/>
              </a:cxn>
              <a:cxn ang="0">
                <a:pos x="128" y="183"/>
              </a:cxn>
              <a:cxn ang="0">
                <a:pos x="117" y="200"/>
              </a:cxn>
              <a:cxn ang="0">
                <a:pos x="112" y="209"/>
              </a:cxn>
              <a:cxn ang="0">
                <a:pos x="109" y="219"/>
              </a:cxn>
              <a:cxn ang="0">
                <a:pos x="108" y="229"/>
              </a:cxn>
              <a:cxn ang="0">
                <a:pos x="107" y="240"/>
              </a:cxn>
              <a:cxn ang="0">
                <a:pos x="108" y="273"/>
              </a:cxn>
              <a:cxn ang="0">
                <a:pos x="109" y="293"/>
              </a:cxn>
              <a:cxn ang="0">
                <a:pos x="110" y="302"/>
              </a:cxn>
              <a:cxn ang="0">
                <a:pos x="109" y="313"/>
              </a:cxn>
              <a:cxn ang="0">
                <a:pos x="109" y="327"/>
              </a:cxn>
              <a:cxn ang="0">
                <a:pos x="107" y="345"/>
              </a:cxn>
              <a:cxn ang="0">
                <a:pos x="97" y="346"/>
              </a:cxn>
              <a:cxn ang="0">
                <a:pos x="88" y="347"/>
              </a:cxn>
              <a:cxn ang="0">
                <a:pos x="79" y="349"/>
              </a:cxn>
              <a:cxn ang="0">
                <a:pos x="71" y="351"/>
              </a:cxn>
              <a:cxn ang="0">
                <a:pos x="63" y="353"/>
              </a:cxn>
              <a:cxn ang="0">
                <a:pos x="55" y="355"/>
              </a:cxn>
              <a:cxn ang="0">
                <a:pos x="48" y="357"/>
              </a:cxn>
              <a:cxn ang="0">
                <a:pos x="40" y="357"/>
              </a:cxn>
              <a:cxn ang="0">
                <a:pos x="40" y="216"/>
              </a:cxn>
              <a:cxn ang="0">
                <a:pos x="40" y="206"/>
              </a:cxn>
              <a:cxn ang="0">
                <a:pos x="39" y="197"/>
              </a:cxn>
              <a:cxn ang="0">
                <a:pos x="37" y="188"/>
              </a:cxn>
              <a:cxn ang="0">
                <a:pos x="34" y="179"/>
              </a:cxn>
              <a:cxn ang="0">
                <a:pos x="28" y="161"/>
              </a:cxn>
              <a:cxn ang="0">
                <a:pos x="20" y="143"/>
              </a:cxn>
              <a:cxn ang="0">
                <a:pos x="13" y="126"/>
              </a:cxn>
              <a:cxn ang="0">
                <a:pos x="7" y="110"/>
              </a:cxn>
              <a:cxn ang="0">
                <a:pos x="4" y="101"/>
              </a:cxn>
              <a:cxn ang="0">
                <a:pos x="3" y="94"/>
              </a:cxn>
              <a:cxn ang="0">
                <a:pos x="0" y="87"/>
              </a:cxn>
              <a:cxn ang="0">
                <a:pos x="0" y="80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18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6291263" y="4479926"/>
            <a:ext cx="25400" cy="60325"/>
          </a:xfrm>
          <a:custGeom>
            <a:avLst/>
            <a:gdLst/>
            <a:ahLst/>
            <a:cxnLst>
              <a:cxn ang="0">
                <a:pos x="10" y="0"/>
              </a:cxn>
              <a:cxn ang="0">
                <a:pos x="6" y="14"/>
              </a:cxn>
              <a:cxn ang="0">
                <a:pos x="2" y="26"/>
              </a:cxn>
              <a:cxn ang="0">
                <a:pos x="0" y="36"/>
              </a:cxn>
              <a:cxn ang="0">
                <a:pos x="0" y="43"/>
              </a:cxn>
              <a:cxn ang="0">
                <a:pos x="0" y="50"/>
              </a:cxn>
              <a:cxn ang="0">
                <a:pos x="2" y="56"/>
              </a:cxn>
              <a:cxn ang="0">
                <a:pos x="6" y="61"/>
              </a:cxn>
              <a:cxn ang="0">
                <a:pos x="10" y="68"/>
              </a:cxn>
              <a:cxn ang="0">
                <a:pos x="50" y="74"/>
              </a:cxn>
              <a:cxn ang="0">
                <a:pos x="50" y="51"/>
              </a:cxn>
              <a:cxn ang="0">
                <a:pos x="50" y="34"/>
              </a:cxn>
              <a:cxn ang="0">
                <a:pos x="50" y="19"/>
              </a:cxn>
              <a:cxn ang="0">
                <a:pos x="50" y="0"/>
              </a:cxn>
              <a:cxn ang="0">
                <a:pos x="38" y="0"/>
              </a:cxn>
              <a:cxn ang="0">
                <a:pos x="25" y="0"/>
              </a:cxn>
              <a:cxn ang="0">
                <a:pos x="14" y="0"/>
              </a:cxn>
              <a:cxn ang="0">
                <a:pos x="10" y="0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19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6186488" y="4576763"/>
            <a:ext cx="61912" cy="57150"/>
          </a:xfrm>
          <a:custGeom>
            <a:avLst/>
            <a:gdLst/>
            <a:ahLst/>
            <a:cxnLst>
              <a:cxn ang="0">
                <a:pos x="3" y="55"/>
              </a:cxn>
              <a:cxn ang="0">
                <a:pos x="11" y="54"/>
              </a:cxn>
              <a:cxn ang="0">
                <a:pos x="18" y="53"/>
              </a:cxn>
              <a:cxn ang="0">
                <a:pos x="24" y="50"/>
              </a:cxn>
              <a:cxn ang="0">
                <a:pos x="31" y="47"/>
              </a:cxn>
              <a:cxn ang="0">
                <a:pos x="42" y="38"/>
              </a:cxn>
              <a:cxn ang="0">
                <a:pos x="52" y="28"/>
              </a:cxn>
              <a:cxn ang="0">
                <a:pos x="61" y="18"/>
              </a:cxn>
              <a:cxn ang="0">
                <a:pos x="71" y="8"/>
              </a:cxn>
              <a:cxn ang="0">
                <a:pos x="76" y="5"/>
              </a:cxn>
              <a:cxn ang="0">
                <a:pos x="82" y="2"/>
              </a:cxn>
              <a:cxn ang="0">
                <a:pos x="88" y="0"/>
              </a:cxn>
              <a:cxn ang="0">
                <a:pos x="96" y="0"/>
              </a:cxn>
              <a:cxn ang="0">
                <a:pos x="102" y="0"/>
              </a:cxn>
              <a:cxn ang="0">
                <a:pos x="110" y="3"/>
              </a:cxn>
              <a:cxn ang="0">
                <a:pos x="117" y="6"/>
              </a:cxn>
              <a:cxn ang="0">
                <a:pos x="123" y="11"/>
              </a:cxn>
              <a:cxn ang="0">
                <a:pos x="128" y="16"/>
              </a:cxn>
              <a:cxn ang="0">
                <a:pos x="132" y="24"/>
              </a:cxn>
              <a:cxn ang="0">
                <a:pos x="134" y="30"/>
              </a:cxn>
              <a:cxn ang="0">
                <a:pos x="135" y="37"/>
              </a:cxn>
              <a:cxn ang="0">
                <a:pos x="134" y="40"/>
              </a:cxn>
              <a:cxn ang="0">
                <a:pos x="132" y="43"/>
              </a:cxn>
              <a:cxn ang="0">
                <a:pos x="129" y="47"/>
              </a:cxn>
              <a:cxn ang="0">
                <a:pos x="124" y="51"/>
              </a:cxn>
              <a:cxn ang="0">
                <a:pos x="113" y="61"/>
              </a:cxn>
              <a:cxn ang="0">
                <a:pos x="100" y="72"/>
              </a:cxn>
              <a:cxn ang="0">
                <a:pos x="87" y="82"/>
              </a:cxn>
              <a:cxn ang="0">
                <a:pos x="74" y="91"/>
              </a:cxn>
              <a:cxn ang="0">
                <a:pos x="63" y="96"/>
              </a:cxn>
              <a:cxn ang="0">
                <a:pos x="55" y="98"/>
              </a:cxn>
              <a:cxn ang="0">
                <a:pos x="51" y="97"/>
              </a:cxn>
              <a:cxn ang="0">
                <a:pos x="43" y="92"/>
              </a:cxn>
              <a:cxn ang="0">
                <a:pos x="32" y="85"/>
              </a:cxn>
              <a:cxn ang="0">
                <a:pos x="21" y="77"/>
              </a:cxn>
              <a:cxn ang="0">
                <a:pos x="11" y="68"/>
              </a:cxn>
              <a:cxn ang="0">
                <a:pos x="5" y="62"/>
              </a:cxn>
              <a:cxn ang="0">
                <a:pos x="1" y="59"/>
              </a:cxn>
              <a:cxn ang="0">
                <a:pos x="0" y="57"/>
              </a:cxn>
              <a:cxn ang="0">
                <a:pos x="0" y="56"/>
              </a:cxn>
              <a:cxn ang="0">
                <a:pos x="3" y="55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20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8404225" y="2290763"/>
            <a:ext cx="120650" cy="171450"/>
          </a:xfrm>
          <a:custGeom>
            <a:avLst/>
            <a:gdLst/>
            <a:ahLst/>
            <a:cxnLst>
              <a:cxn ang="0">
                <a:pos x="240" y="9"/>
              </a:cxn>
              <a:cxn ang="0">
                <a:pos x="240" y="28"/>
              </a:cxn>
              <a:cxn ang="0">
                <a:pos x="249" y="42"/>
              </a:cxn>
              <a:cxn ang="0">
                <a:pos x="245" y="55"/>
              </a:cxn>
              <a:cxn ang="0">
                <a:pos x="225" y="50"/>
              </a:cxn>
              <a:cxn ang="0">
                <a:pos x="210" y="51"/>
              </a:cxn>
              <a:cxn ang="0">
                <a:pos x="195" y="65"/>
              </a:cxn>
              <a:cxn ang="0">
                <a:pos x="193" y="78"/>
              </a:cxn>
              <a:cxn ang="0">
                <a:pos x="198" y="89"/>
              </a:cxn>
              <a:cxn ang="0">
                <a:pos x="215" y="110"/>
              </a:cxn>
              <a:cxn ang="0">
                <a:pos x="224" y="122"/>
              </a:cxn>
              <a:cxn ang="0">
                <a:pos x="225" y="133"/>
              </a:cxn>
              <a:cxn ang="0">
                <a:pos x="222" y="143"/>
              </a:cxn>
              <a:cxn ang="0">
                <a:pos x="207" y="154"/>
              </a:cxn>
              <a:cxn ang="0">
                <a:pos x="200" y="160"/>
              </a:cxn>
              <a:cxn ang="0">
                <a:pos x="181" y="166"/>
              </a:cxn>
              <a:cxn ang="0">
                <a:pos x="164" y="178"/>
              </a:cxn>
              <a:cxn ang="0">
                <a:pos x="160" y="191"/>
              </a:cxn>
              <a:cxn ang="0">
                <a:pos x="173" y="207"/>
              </a:cxn>
              <a:cxn ang="0">
                <a:pos x="189" y="215"/>
              </a:cxn>
              <a:cxn ang="0">
                <a:pos x="214" y="227"/>
              </a:cxn>
              <a:cxn ang="0">
                <a:pos x="245" y="259"/>
              </a:cxn>
              <a:cxn ang="0">
                <a:pos x="251" y="285"/>
              </a:cxn>
              <a:cxn ang="0">
                <a:pos x="220" y="291"/>
              </a:cxn>
              <a:cxn ang="0">
                <a:pos x="207" y="298"/>
              </a:cxn>
              <a:cxn ang="0">
                <a:pos x="198" y="312"/>
              </a:cxn>
              <a:cxn ang="0">
                <a:pos x="189" y="326"/>
              </a:cxn>
              <a:cxn ang="0">
                <a:pos x="170" y="321"/>
              </a:cxn>
              <a:cxn ang="0">
                <a:pos x="167" y="316"/>
              </a:cxn>
              <a:cxn ang="0">
                <a:pos x="154" y="310"/>
              </a:cxn>
              <a:cxn ang="0">
                <a:pos x="139" y="301"/>
              </a:cxn>
              <a:cxn ang="0">
                <a:pos x="126" y="295"/>
              </a:cxn>
              <a:cxn ang="0">
                <a:pos x="98" y="290"/>
              </a:cxn>
              <a:cxn ang="0">
                <a:pos x="63" y="277"/>
              </a:cxn>
              <a:cxn ang="0">
                <a:pos x="54" y="268"/>
              </a:cxn>
              <a:cxn ang="0">
                <a:pos x="55" y="256"/>
              </a:cxn>
              <a:cxn ang="0">
                <a:pos x="70" y="244"/>
              </a:cxn>
              <a:cxn ang="0">
                <a:pos x="59" y="221"/>
              </a:cxn>
              <a:cxn ang="0">
                <a:pos x="34" y="194"/>
              </a:cxn>
              <a:cxn ang="0">
                <a:pos x="13" y="182"/>
              </a:cxn>
              <a:cxn ang="0">
                <a:pos x="4" y="171"/>
              </a:cxn>
              <a:cxn ang="0">
                <a:pos x="19" y="152"/>
              </a:cxn>
              <a:cxn ang="0">
                <a:pos x="54" y="124"/>
              </a:cxn>
              <a:cxn ang="0">
                <a:pos x="73" y="105"/>
              </a:cxn>
              <a:cxn ang="0">
                <a:pos x="88" y="92"/>
              </a:cxn>
              <a:cxn ang="0">
                <a:pos x="110" y="88"/>
              </a:cxn>
              <a:cxn ang="0">
                <a:pos x="144" y="70"/>
              </a:cxn>
              <a:cxn ang="0">
                <a:pos x="168" y="46"/>
              </a:cxn>
              <a:cxn ang="0">
                <a:pos x="191" y="21"/>
              </a:cxn>
              <a:cxn ang="0">
                <a:pos x="220" y="4"/>
              </a:cxn>
              <a:cxn ang="0">
                <a:pos x="238" y="0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21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7475539" y="2705101"/>
            <a:ext cx="206375" cy="123825"/>
          </a:xfrm>
          <a:custGeom>
            <a:avLst/>
            <a:gdLst/>
            <a:ahLst/>
            <a:cxnLst>
              <a:cxn ang="0">
                <a:pos x="86" y="0"/>
              </a:cxn>
              <a:cxn ang="0">
                <a:pos x="92" y="7"/>
              </a:cxn>
              <a:cxn ang="0">
                <a:pos x="102" y="13"/>
              </a:cxn>
              <a:cxn ang="0">
                <a:pos x="125" y="23"/>
              </a:cxn>
              <a:cxn ang="0">
                <a:pos x="159" y="37"/>
              </a:cxn>
              <a:cxn ang="0">
                <a:pos x="223" y="77"/>
              </a:cxn>
              <a:cxn ang="0">
                <a:pos x="253" y="97"/>
              </a:cxn>
              <a:cxn ang="0">
                <a:pos x="283" y="113"/>
              </a:cxn>
              <a:cxn ang="0">
                <a:pos x="316" y="127"/>
              </a:cxn>
              <a:cxn ang="0">
                <a:pos x="355" y="139"/>
              </a:cxn>
              <a:cxn ang="0">
                <a:pos x="399" y="146"/>
              </a:cxn>
              <a:cxn ang="0">
                <a:pos x="451" y="148"/>
              </a:cxn>
              <a:cxn ang="0">
                <a:pos x="452" y="187"/>
              </a:cxn>
              <a:cxn ang="0">
                <a:pos x="459" y="211"/>
              </a:cxn>
              <a:cxn ang="0">
                <a:pos x="467" y="227"/>
              </a:cxn>
              <a:cxn ang="0">
                <a:pos x="467" y="236"/>
              </a:cxn>
              <a:cxn ang="0">
                <a:pos x="451" y="236"/>
              </a:cxn>
              <a:cxn ang="0">
                <a:pos x="416" y="231"/>
              </a:cxn>
              <a:cxn ang="0">
                <a:pos x="362" y="219"/>
              </a:cxn>
              <a:cxn ang="0">
                <a:pos x="315" y="207"/>
              </a:cxn>
              <a:cxn ang="0">
                <a:pos x="294" y="203"/>
              </a:cxn>
              <a:cxn ang="0">
                <a:pos x="287" y="199"/>
              </a:cxn>
              <a:cxn ang="0">
                <a:pos x="277" y="190"/>
              </a:cxn>
              <a:cxn ang="0">
                <a:pos x="267" y="178"/>
              </a:cxn>
              <a:cxn ang="0">
                <a:pos x="255" y="166"/>
              </a:cxn>
              <a:cxn ang="0">
                <a:pos x="240" y="159"/>
              </a:cxn>
              <a:cxn ang="0">
                <a:pos x="227" y="159"/>
              </a:cxn>
              <a:cxn ang="0">
                <a:pos x="205" y="163"/>
              </a:cxn>
              <a:cxn ang="0">
                <a:pos x="183" y="167"/>
              </a:cxn>
              <a:cxn ang="0">
                <a:pos x="169" y="168"/>
              </a:cxn>
              <a:cxn ang="0">
                <a:pos x="158" y="164"/>
              </a:cxn>
              <a:cxn ang="0">
                <a:pos x="148" y="155"/>
              </a:cxn>
              <a:cxn ang="0">
                <a:pos x="139" y="148"/>
              </a:cxn>
              <a:cxn ang="0">
                <a:pos x="122" y="145"/>
              </a:cxn>
              <a:cxn ang="0">
                <a:pos x="92" y="135"/>
              </a:cxn>
              <a:cxn ang="0">
                <a:pos x="48" y="117"/>
              </a:cxn>
              <a:cxn ang="0">
                <a:pos x="12" y="96"/>
              </a:cxn>
              <a:cxn ang="0">
                <a:pos x="7" y="0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22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7691439" y="2760664"/>
            <a:ext cx="73025" cy="65087"/>
          </a:xfrm>
          <a:custGeom>
            <a:avLst/>
            <a:gdLst/>
            <a:ahLst/>
            <a:cxnLst>
              <a:cxn ang="0">
                <a:pos x="167" y="43"/>
              </a:cxn>
              <a:cxn ang="0">
                <a:pos x="164" y="54"/>
              </a:cxn>
              <a:cxn ang="0">
                <a:pos x="161" y="66"/>
              </a:cxn>
              <a:cxn ang="0">
                <a:pos x="155" y="79"/>
              </a:cxn>
              <a:cxn ang="0">
                <a:pos x="150" y="93"/>
              </a:cxn>
              <a:cxn ang="0">
                <a:pos x="146" y="99"/>
              </a:cxn>
              <a:cxn ang="0">
                <a:pos x="142" y="105"/>
              </a:cxn>
              <a:cxn ang="0">
                <a:pos x="138" y="110"/>
              </a:cxn>
              <a:cxn ang="0">
                <a:pos x="132" y="114"/>
              </a:cxn>
              <a:cxn ang="0">
                <a:pos x="127" y="118"/>
              </a:cxn>
              <a:cxn ang="0">
                <a:pos x="121" y="121"/>
              </a:cxn>
              <a:cxn ang="0">
                <a:pos x="115" y="122"/>
              </a:cxn>
              <a:cxn ang="0">
                <a:pos x="107" y="123"/>
              </a:cxn>
              <a:cxn ang="0">
                <a:pos x="100" y="122"/>
              </a:cxn>
              <a:cxn ang="0">
                <a:pos x="92" y="119"/>
              </a:cxn>
              <a:cxn ang="0">
                <a:pos x="87" y="116"/>
              </a:cxn>
              <a:cxn ang="0">
                <a:pos x="84" y="113"/>
              </a:cxn>
              <a:cxn ang="0">
                <a:pos x="82" y="109"/>
              </a:cxn>
              <a:cxn ang="0">
                <a:pos x="81" y="105"/>
              </a:cxn>
              <a:cxn ang="0">
                <a:pos x="71" y="104"/>
              </a:cxn>
              <a:cxn ang="0">
                <a:pos x="61" y="103"/>
              </a:cxn>
              <a:cxn ang="0">
                <a:pos x="51" y="101"/>
              </a:cxn>
              <a:cxn ang="0">
                <a:pos x="41" y="98"/>
              </a:cxn>
              <a:cxn ang="0">
                <a:pos x="21" y="92"/>
              </a:cxn>
              <a:cxn ang="0">
                <a:pos x="0" y="86"/>
              </a:cxn>
              <a:cxn ang="0">
                <a:pos x="2" y="77"/>
              </a:cxn>
              <a:cxn ang="0">
                <a:pos x="5" y="67"/>
              </a:cxn>
              <a:cxn ang="0">
                <a:pos x="9" y="56"/>
              </a:cxn>
              <a:cxn ang="0">
                <a:pos x="15" y="43"/>
              </a:cxn>
              <a:cxn ang="0">
                <a:pos x="20" y="43"/>
              </a:cxn>
              <a:cxn ang="0">
                <a:pos x="26" y="42"/>
              </a:cxn>
              <a:cxn ang="0">
                <a:pos x="30" y="41"/>
              </a:cxn>
              <a:cxn ang="0">
                <a:pos x="33" y="38"/>
              </a:cxn>
              <a:cxn ang="0">
                <a:pos x="40" y="33"/>
              </a:cxn>
              <a:cxn ang="0">
                <a:pos x="45" y="26"/>
              </a:cxn>
              <a:cxn ang="0">
                <a:pos x="52" y="12"/>
              </a:cxn>
              <a:cxn ang="0">
                <a:pos x="61" y="0"/>
              </a:cxn>
              <a:cxn ang="0">
                <a:pos x="64" y="4"/>
              </a:cxn>
              <a:cxn ang="0">
                <a:pos x="67" y="7"/>
              </a:cxn>
              <a:cxn ang="0">
                <a:pos x="73" y="11"/>
              </a:cxn>
              <a:cxn ang="0">
                <a:pos x="78" y="14"/>
              </a:cxn>
              <a:cxn ang="0">
                <a:pos x="92" y="21"/>
              </a:cxn>
              <a:cxn ang="0">
                <a:pos x="107" y="28"/>
              </a:cxn>
              <a:cxn ang="0">
                <a:pos x="122" y="35"/>
              </a:cxn>
              <a:cxn ang="0">
                <a:pos x="139" y="39"/>
              </a:cxn>
              <a:cxn ang="0">
                <a:pos x="153" y="42"/>
              </a:cxn>
              <a:cxn ang="0">
                <a:pos x="167" y="4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23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7681913" y="2832100"/>
            <a:ext cx="133350" cy="166688"/>
          </a:xfrm>
          <a:custGeom>
            <a:avLst/>
            <a:gdLst/>
            <a:ahLst/>
            <a:cxnLst>
              <a:cxn ang="0">
                <a:pos x="259" y="160"/>
              </a:cxn>
              <a:cxn ang="0">
                <a:pos x="252" y="173"/>
              </a:cxn>
              <a:cxn ang="0">
                <a:pos x="243" y="182"/>
              </a:cxn>
              <a:cxn ang="0">
                <a:pos x="233" y="186"/>
              </a:cxn>
              <a:cxn ang="0">
                <a:pos x="223" y="184"/>
              </a:cxn>
              <a:cxn ang="0">
                <a:pos x="214" y="178"/>
              </a:cxn>
              <a:cxn ang="0">
                <a:pos x="209" y="169"/>
              </a:cxn>
              <a:cxn ang="0">
                <a:pos x="206" y="160"/>
              </a:cxn>
              <a:cxn ang="0">
                <a:pos x="209" y="148"/>
              </a:cxn>
              <a:cxn ang="0">
                <a:pos x="213" y="136"/>
              </a:cxn>
              <a:cxn ang="0">
                <a:pos x="230" y="114"/>
              </a:cxn>
              <a:cxn ang="0">
                <a:pos x="246" y="93"/>
              </a:cxn>
              <a:cxn ang="0">
                <a:pos x="250" y="82"/>
              </a:cxn>
              <a:cxn ang="0">
                <a:pos x="253" y="69"/>
              </a:cxn>
              <a:cxn ang="0">
                <a:pos x="129" y="68"/>
              </a:cxn>
              <a:cxn ang="0">
                <a:pos x="119" y="59"/>
              </a:cxn>
              <a:cxn ang="0">
                <a:pos x="112" y="45"/>
              </a:cxn>
              <a:cxn ang="0">
                <a:pos x="108" y="28"/>
              </a:cxn>
              <a:cxn ang="0">
                <a:pos x="101" y="19"/>
              </a:cxn>
              <a:cxn ang="0">
                <a:pos x="90" y="17"/>
              </a:cxn>
              <a:cxn ang="0">
                <a:pos x="80" y="12"/>
              </a:cxn>
              <a:cxn ang="0">
                <a:pos x="75" y="4"/>
              </a:cxn>
              <a:cxn ang="0">
                <a:pos x="65" y="0"/>
              </a:cxn>
              <a:cxn ang="0">
                <a:pos x="49" y="0"/>
              </a:cxn>
              <a:cxn ang="0">
                <a:pos x="34" y="1"/>
              </a:cxn>
              <a:cxn ang="0">
                <a:pos x="22" y="5"/>
              </a:cxn>
              <a:cxn ang="0">
                <a:pos x="10" y="14"/>
              </a:cxn>
              <a:cxn ang="0">
                <a:pos x="1" y="25"/>
              </a:cxn>
              <a:cxn ang="0">
                <a:pos x="2" y="35"/>
              </a:cxn>
              <a:cxn ang="0">
                <a:pos x="15" y="46"/>
              </a:cxn>
              <a:cxn ang="0">
                <a:pos x="35" y="58"/>
              </a:cxn>
              <a:cxn ang="0">
                <a:pos x="54" y="67"/>
              </a:cxn>
              <a:cxn ang="0">
                <a:pos x="47" y="79"/>
              </a:cxn>
              <a:cxn ang="0">
                <a:pos x="25" y="97"/>
              </a:cxn>
              <a:cxn ang="0">
                <a:pos x="17" y="107"/>
              </a:cxn>
              <a:cxn ang="0">
                <a:pos x="14" y="114"/>
              </a:cxn>
              <a:cxn ang="0">
                <a:pos x="14" y="122"/>
              </a:cxn>
              <a:cxn ang="0">
                <a:pos x="18" y="129"/>
              </a:cxn>
              <a:cxn ang="0">
                <a:pos x="28" y="141"/>
              </a:cxn>
              <a:cxn ang="0">
                <a:pos x="47" y="156"/>
              </a:cxn>
              <a:cxn ang="0">
                <a:pos x="64" y="164"/>
              </a:cxn>
              <a:cxn ang="0">
                <a:pos x="75" y="166"/>
              </a:cxn>
              <a:cxn ang="0">
                <a:pos x="107" y="271"/>
              </a:cxn>
              <a:cxn ang="0">
                <a:pos x="108" y="263"/>
              </a:cxn>
              <a:cxn ang="0">
                <a:pos x="112" y="256"/>
              </a:cxn>
              <a:cxn ang="0">
                <a:pos x="127" y="246"/>
              </a:cxn>
              <a:cxn ang="0">
                <a:pos x="148" y="240"/>
              </a:cxn>
              <a:cxn ang="0">
                <a:pos x="174" y="235"/>
              </a:cxn>
              <a:cxn ang="0">
                <a:pos x="174" y="210"/>
              </a:cxn>
              <a:cxn ang="0">
                <a:pos x="183" y="212"/>
              </a:cxn>
              <a:cxn ang="0">
                <a:pos x="193" y="212"/>
              </a:cxn>
              <a:cxn ang="0">
                <a:pos x="213" y="210"/>
              </a:cxn>
              <a:cxn ang="0">
                <a:pos x="232" y="261"/>
              </a:cxn>
              <a:cxn ang="0">
                <a:pos x="259" y="321"/>
              </a:cxn>
              <a:cxn ang="0">
                <a:pos x="272" y="311"/>
              </a:cxn>
              <a:cxn ang="0">
                <a:pos x="282" y="302"/>
              </a:cxn>
              <a:cxn ang="0">
                <a:pos x="295" y="280"/>
              </a:cxn>
              <a:cxn ang="0">
                <a:pos x="306" y="23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24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7999413" y="2947989"/>
            <a:ext cx="201612" cy="269875"/>
          </a:xfrm>
          <a:custGeom>
            <a:avLst/>
            <a:gdLst/>
            <a:ahLst/>
            <a:cxnLst>
              <a:cxn ang="0">
                <a:pos x="94" y="12"/>
              </a:cxn>
              <a:cxn ang="0">
                <a:pos x="67" y="32"/>
              </a:cxn>
              <a:cxn ang="0">
                <a:pos x="40" y="49"/>
              </a:cxn>
              <a:cxn ang="0">
                <a:pos x="27" y="82"/>
              </a:cxn>
              <a:cxn ang="0">
                <a:pos x="8" y="118"/>
              </a:cxn>
              <a:cxn ang="0">
                <a:pos x="7" y="136"/>
              </a:cxn>
              <a:cxn ang="0">
                <a:pos x="30" y="153"/>
              </a:cxn>
              <a:cxn ang="0">
                <a:pos x="50" y="168"/>
              </a:cxn>
              <a:cxn ang="0">
                <a:pos x="62" y="172"/>
              </a:cxn>
              <a:cxn ang="0">
                <a:pos x="75" y="211"/>
              </a:cxn>
              <a:cxn ang="0">
                <a:pos x="84" y="272"/>
              </a:cxn>
              <a:cxn ang="0">
                <a:pos x="94" y="299"/>
              </a:cxn>
              <a:cxn ang="0">
                <a:pos x="104" y="302"/>
              </a:cxn>
              <a:cxn ang="0">
                <a:pos x="112" y="297"/>
              </a:cxn>
              <a:cxn ang="0">
                <a:pos x="128" y="268"/>
              </a:cxn>
              <a:cxn ang="0">
                <a:pos x="145" y="262"/>
              </a:cxn>
              <a:cxn ang="0">
                <a:pos x="160" y="272"/>
              </a:cxn>
              <a:cxn ang="0">
                <a:pos x="173" y="277"/>
              </a:cxn>
              <a:cxn ang="0">
                <a:pos x="183" y="274"/>
              </a:cxn>
              <a:cxn ang="0">
                <a:pos x="192" y="259"/>
              </a:cxn>
              <a:cxn ang="0">
                <a:pos x="203" y="244"/>
              </a:cxn>
              <a:cxn ang="0">
                <a:pos x="212" y="241"/>
              </a:cxn>
              <a:cxn ang="0">
                <a:pos x="241" y="247"/>
              </a:cxn>
              <a:cxn ang="0">
                <a:pos x="259" y="271"/>
              </a:cxn>
              <a:cxn ang="0">
                <a:pos x="308" y="336"/>
              </a:cxn>
              <a:cxn ang="0">
                <a:pos x="341" y="382"/>
              </a:cxn>
              <a:cxn ang="0">
                <a:pos x="358" y="419"/>
              </a:cxn>
              <a:cxn ang="0">
                <a:pos x="366" y="457"/>
              </a:cxn>
              <a:cxn ang="0">
                <a:pos x="359" y="470"/>
              </a:cxn>
              <a:cxn ang="0">
                <a:pos x="339" y="487"/>
              </a:cxn>
              <a:cxn ang="0">
                <a:pos x="363" y="496"/>
              </a:cxn>
              <a:cxn ang="0">
                <a:pos x="392" y="518"/>
              </a:cxn>
              <a:cxn ang="0">
                <a:pos x="401" y="499"/>
              </a:cxn>
              <a:cxn ang="0">
                <a:pos x="413" y="489"/>
              </a:cxn>
              <a:cxn ang="0">
                <a:pos x="444" y="483"/>
              </a:cxn>
              <a:cxn ang="0">
                <a:pos x="468" y="438"/>
              </a:cxn>
              <a:cxn ang="0">
                <a:pos x="449" y="387"/>
              </a:cxn>
              <a:cxn ang="0">
                <a:pos x="421" y="347"/>
              </a:cxn>
              <a:cxn ang="0">
                <a:pos x="345" y="277"/>
              </a:cxn>
              <a:cxn ang="0">
                <a:pos x="279" y="218"/>
              </a:cxn>
              <a:cxn ang="0">
                <a:pos x="224" y="162"/>
              </a:cxn>
              <a:cxn ang="0">
                <a:pos x="179" y="105"/>
              </a:cxn>
              <a:cxn ang="0">
                <a:pos x="127" y="40"/>
              </a:cxn>
              <a:cxn ang="0">
                <a:pos x="115" y="14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25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8081963" y="3198814"/>
            <a:ext cx="133350" cy="130175"/>
          </a:xfrm>
          <a:custGeom>
            <a:avLst/>
            <a:gdLst/>
            <a:ahLst/>
            <a:cxnLst>
              <a:cxn ang="0">
                <a:pos x="152" y="19"/>
              </a:cxn>
              <a:cxn ang="0">
                <a:pos x="179" y="30"/>
              </a:cxn>
              <a:cxn ang="0">
                <a:pos x="196" y="30"/>
              </a:cxn>
              <a:cxn ang="0">
                <a:pos x="202" y="18"/>
              </a:cxn>
              <a:cxn ang="0">
                <a:pos x="210" y="10"/>
              </a:cxn>
              <a:cxn ang="0">
                <a:pos x="219" y="6"/>
              </a:cxn>
              <a:cxn ang="0">
                <a:pos x="245" y="2"/>
              </a:cxn>
              <a:cxn ang="0">
                <a:pos x="293" y="80"/>
              </a:cxn>
              <a:cxn ang="0">
                <a:pos x="266" y="107"/>
              </a:cxn>
              <a:cxn ang="0">
                <a:pos x="237" y="141"/>
              </a:cxn>
              <a:cxn ang="0">
                <a:pos x="225" y="159"/>
              </a:cxn>
              <a:cxn ang="0">
                <a:pos x="215" y="178"/>
              </a:cxn>
              <a:cxn ang="0">
                <a:pos x="209" y="197"/>
              </a:cxn>
              <a:cxn ang="0">
                <a:pos x="206" y="216"/>
              </a:cxn>
              <a:cxn ang="0">
                <a:pos x="196" y="217"/>
              </a:cxn>
              <a:cxn ang="0">
                <a:pos x="186" y="220"/>
              </a:cxn>
              <a:cxn ang="0">
                <a:pos x="170" y="229"/>
              </a:cxn>
              <a:cxn ang="0">
                <a:pos x="154" y="239"/>
              </a:cxn>
              <a:cxn ang="0">
                <a:pos x="133" y="246"/>
              </a:cxn>
              <a:cxn ang="0">
                <a:pos x="102" y="240"/>
              </a:cxn>
              <a:cxn ang="0">
                <a:pos x="71" y="232"/>
              </a:cxn>
              <a:cxn ang="0">
                <a:pos x="59" y="226"/>
              </a:cxn>
              <a:cxn ang="0">
                <a:pos x="49" y="220"/>
              </a:cxn>
              <a:cxn ang="0">
                <a:pos x="43" y="212"/>
              </a:cxn>
              <a:cxn ang="0">
                <a:pos x="41" y="204"/>
              </a:cxn>
              <a:cxn ang="0">
                <a:pos x="47" y="178"/>
              </a:cxn>
              <a:cxn ang="0">
                <a:pos x="45" y="162"/>
              </a:cxn>
              <a:cxn ang="0">
                <a:pos x="40" y="147"/>
              </a:cxn>
              <a:cxn ang="0">
                <a:pos x="24" y="119"/>
              </a:cxn>
              <a:cxn ang="0">
                <a:pos x="8" y="91"/>
              </a:cxn>
              <a:cxn ang="0">
                <a:pos x="2" y="74"/>
              </a:cxn>
              <a:cxn ang="0">
                <a:pos x="0" y="55"/>
              </a:cxn>
              <a:cxn ang="0">
                <a:pos x="2" y="45"/>
              </a:cxn>
              <a:cxn ang="0">
                <a:pos x="8" y="36"/>
              </a:cxn>
              <a:cxn ang="0">
                <a:pos x="17" y="29"/>
              </a:cxn>
              <a:cxn ang="0">
                <a:pos x="26" y="22"/>
              </a:cxn>
              <a:cxn ang="0">
                <a:pos x="48" y="14"/>
              </a:cxn>
              <a:cxn ang="0">
                <a:pos x="67" y="12"/>
              </a:cxn>
              <a:cxn ang="0">
                <a:pos x="96" y="12"/>
              </a:cxn>
              <a:cxn ang="0">
                <a:pos x="133" y="12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26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8483601" y="2435226"/>
            <a:ext cx="85725" cy="130175"/>
          </a:xfrm>
          <a:custGeom>
            <a:avLst/>
            <a:gdLst/>
            <a:ahLst/>
            <a:cxnLst>
              <a:cxn ang="0">
                <a:pos x="18" y="41"/>
              </a:cxn>
              <a:cxn ang="0">
                <a:pos x="28" y="26"/>
              </a:cxn>
              <a:cxn ang="0">
                <a:pos x="38" y="16"/>
              </a:cxn>
              <a:cxn ang="0">
                <a:pos x="50" y="9"/>
              </a:cxn>
              <a:cxn ang="0">
                <a:pos x="73" y="1"/>
              </a:cxn>
              <a:cxn ang="0">
                <a:pos x="88" y="12"/>
              </a:cxn>
              <a:cxn ang="0">
                <a:pos x="108" y="34"/>
              </a:cxn>
              <a:cxn ang="0">
                <a:pos x="125" y="50"/>
              </a:cxn>
              <a:cxn ang="0">
                <a:pos x="139" y="58"/>
              </a:cxn>
              <a:cxn ang="0">
                <a:pos x="152" y="64"/>
              </a:cxn>
              <a:cxn ang="0">
                <a:pos x="166" y="67"/>
              </a:cxn>
              <a:cxn ang="0">
                <a:pos x="184" y="96"/>
              </a:cxn>
              <a:cxn ang="0">
                <a:pos x="195" y="137"/>
              </a:cxn>
              <a:cxn ang="0">
                <a:pos x="199" y="165"/>
              </a:cxn>
              <a:cxn ang="0">
                <a:pos x="200" y="185"/>
              </a:cxn>
              <a:cxn ang="0">
                <a:pos x="198" y="197"/>
              </a:cxn>
              <a:cxn ang="0">
                <a:pos x="195" y="207"/>
              </a:cxn>
              <a:cxn ang="0">
                <a:pos x="189" y="214"/>
              </a:cxn>
              <a:cxn ang="0">
                <a:pos x="179" y="220"/>
              </a:cxn>
              <a:cxn ang="0">
                <a:pos x="164" y="224"/>
              </a:cxn>
              <a:cxn ang="0">
                <a:pos x="140" y="224"/>
              </a:cxn>
              <a:cxn ang="0">
                <a:pos x="118" y="229"/>
              </a:cxn>
              <a:cxn ang="0">
                <a:pos x="111" y="235"/>
              </a:cxn>
              <a:cxn ang="0">
                <a:pos x="108" y="242"/>
              </a:cxn>
              <a:cxn ang="0">
                <a:pos x="98" y="245"/>
              </a:cxn>
              <a:cxn ang="0">
                <a:pos x="85" y="240"/>
              </a:cxn>
              <a:cxn ang="0">
                <a:pos x="77" y="230"/>
              </a:cxn>
              <a:cxn ang="0">
                <a:pos x="73" y="216"/>
              </a:cxn>
              <a:cxn ang="0">
                <a:pos x="72" y="192"/>
              </a:cxn>
              <a:cxn ang="0">
                <a:pos x="71" y="168"/>
              </a:cxn>
              <a:cxn ang="0">
                <a:pos x="69" y="154"/>
              </a:cxn>
              <a:cxn ang="0">
                <a:pos x="64" y="142"/>
              </a:cxn>
              <a:cxn ang="0">
                <a:pos x="56" y="134"/>
              </a:cxn>
              <a:cxn ang="0">
                <a:pos x="40" y="125"/>
              </a:cxn>
              <a:cxn ang="0">
                <a:pos x="18" y="115"/>
              </a:cxn>
              <a:cxn ang="0">
                <a:pos x="6" y="106"/>
              </a:cxn>
              <a:cxn ang="0">
                <a:pos x="1" y="98"/>
              </a:cxn>
              <a:cxn ang="0">
                <a:pos x="1" y="87"/>
              </a:cxn>
              <a:cxn ang="0">
                <a:pos x="5" y="78"/>
              </a:cxn>
              <a:cxn ang="0">
                <a:pos x="10" y="68"/>
              </a:cxn>
              <a:cxn ang="0">
                <a:pos x="13" y="56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27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9051926" y="3732213"/>
            <a:ext cx="231775" cy="254000"/>
          </a:xfrm>
          <a:custGeom>
            <a:avLst/>
            <a:gdLst/>
            <a:ahLst/>
            <a:cxnLst>
              <a:cxn ang="0">
                <a:pos x="91" y="21"/>
              </a:cxn>
              <a:cxn ang="0">
                <a:pos x="160" y="47"/>
              </a:cxn>
              <a:cxn ang="0">
                <a:pos x="202" y="70"/>
              </a:cxn>
              <a:cxn ang="0">
                <a:pos x="253" y="110"/>
              </a:cxn>
              <a:cxn ang="0">
                <a:pos x="300" y="136"/>
              </a:cxn>
              <a:cxn ang="0">
                <a:pos x="299" y="161"/>
              </a:cxn>
              <a:cxn ang="0">
                <a:pos x="347" y="205"/>
              </a:cxn>
              <a:cxn ang="0">
                <a:pos x="393" y="248"/>
              </a:cxn>
              <a:cxn ang="0">
                <a:pos x="379" y="250"/>
              </a:cxn>
              <a:cxn ang="0">
                <a:pos x="372" y="256"/>
              </a:cxn>
              <a:cxn ang="0">
                <a:pos x="372" y="278"/>
              </a:cxn>
              <a:cxn ang="0">
                <a:pos x="377" y="301"/>
              </a:cxn>
              <a:cxn ang="0">
                <a:pos x="389" y="325"/>
              </a:cxn>
              <a:cxn ang="0">
                <a:pos x="407" y="348"/>
              </a:cxn>
              <a:cxn ang="0">
                <a:pos x="428" y="366"/>
              </a:cxn>
              <a:cxn ang="0">
                <a:pos x="451" y="376"/>
              </a:cxn>
              <a:cxn ang="0">
                <a:pos x="461" y="390"/>
              </a:cxn>
              <a:cxn ang="0">
                <a:pos x="472" y="406"/>
              </a:cxn>
              <a:cxn ang="0">
                <a:pos x="489" y="417"/>
              </a:cxn>
              <a:cxn ang="0">
                <a:pos x="513" y="432"/>
              </a:cxn>
              <a:cxn ang="0">
                <a:pos x="518" y="444"/>
              </a:cxn>
              <a:cxn ang="0">
                <a:pos x="525" y="450"/>
              </a:cxn>
              <a:cxn ang="0">
                <a:pos x="538" y="456"/>
              </a:cxn>
              <a:cxn ang="0">
                <a:pos x="534" y="472"/>
              </a:cxn>
              <a:cxn ang="0">
                <a:pos x="519" y="484"/>
              </a:cxn>
              <a:cxn ang="0">
                <a:pos x="490" y="487"/>
              </a:cxn>
              <a:cxn ang="0">
                <a:pos x="448" y="480"/>
              </a:cxn>
              <a:cxn ang="0">
                <a:pos x="414" y="466"/>
              </a:cxn>
              <a:cxn ang="0">
                <a:pos x="386" y="446"/>
              </a:cxn>
              <a:cxn ang="0">
                <a:pos x="355" y="415"/>
              </a:cxn>
              <a:cxn ang="0">
                <a:pos x="312" y="365"/>
              </a:cxn>
              <a:cxn ang="0">
                <a:pos x="274" y="330"/>
              </a:cxn>
              <a:cxn ang="0">
                <a:pos x="246" y="316"/>
              </a:cxn>
              <a:cxn ang="0">
                <a:pos x="212" y="309"/>
              </a:cxn>
              <a:cxn ang="0">
                <a:pos x="180" y="310"/>
              </a:cxn>
              <a:cxn ang="0">
                <a:pos x="153" y="317"/>
              </a:cxn>
              <a:cxn ang="0">
                <a:pos x="113" y="345"/>
              </a:cxn>
              <a:cxn ang="0">
                <a:pos x="136" y="361"/>
              </a:cxn>
              <a:cxn ang="0">
                <a:pos x="140" y="370"/>
              </a:cxn>
              <a:cxn ang="0">
                <a:pos x="124" y="401"/>
              </a:cxn>
              <a:cxn ang="0">
                <a:pos x="113" y="414"/>
              </a:cxn>
              <a:cxn ang="0">
                <a:pos x="47" y="403"/>
              </a:cxn>
              <a:cxn ang="0">
                <a:pos x="20" y="259"/>
              </a:cxn>
              <a:cxn ang="0">
                <a:pos x="20" y="0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28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9244013" y="3716339"/>
            <a:ext cx="106362" cy="128587"/>
          </a:xfrm>
          <a:custGeom>
            <a:avLst/>
            <a:gdLst/>
            <a:ahLst/>
            <a:cxnLst>
              <a:cxn ang="0">
                <a:pos x="136" y="1"/>
              </a:cxn>
              <a:cxn ang="0">
                <a:pos x="157" y="8"/>
              </a:cxn>
              <a:cxn ang="0">
                <a:pos x="179" y="21"/>
              </a:cxn>
              <a:cxn ang="0">
                <a:pos x="199" y="37"/>
              </a:cxn>
              <a:cxn ang="0">
                <a:pos x="218" y="57"/>
              </a:cxn>
              <a:cxn ang="0">
                <a:pos x="234" y="76"/>
              </a:cxn>
              <a:cxn ang="0">
                <a:pos x="245" y="94"/>
              </a:cxn>
              <a:cxn ang="0">
                <a:pos x="252" y="111"/>
              </a:cxn>
              <a:cxn ang="0">
                <a:pos x="252" y="128"/>
              </a:cxn>
              <a:cxn ang="0">
                <a:pos x="243" y="151"/>
              </a:cxn>
              <a:cxn ang="0">
                <a:pos x="229" y="174"/>
              </a:cxn>
              <a:cxn ang="0">
                <a:pos x="209" y="195"/>
              </a:cxn>
              <a:cxn ang="0">
                <a:pos x="184" y="214"/>
              </a:cxn>
              <a:cxn ang="0">
                <a:pos x="157" y="229"/>
              </a:cxn>
              <a:cxn ang="0">
                <a:pos x="129" y="240"/>
              </a:cxn>
              <a:cxn ang="0">
                <a:pos x="100" y="245"/>
              </a:cxn>
              <a:cxn ang="0">
                <a:pos x="74" y="245"/>
              </a:cxn>
              <a:cxn ang="0">
                <a:pos x="53" y="240"/>
              </a:cxn>
              <a:cxn ang="0">
                <a:pos x="33" y="234"/>
              </a:cxn>
              <a:cxn ang="0">
                <a:pos x="11" y="229"/>
              </a:cxn>
              <a:cxn ang="0">
                <a:pos x="3" y="219"/>
              </a:cxn>
              <a:cxn ang="0">
                <a:pos x="10" y="205"/>
              </a:cxn>
              <a:cxn ang="0">
                <a:pos x="22" y="196"/>
              </a:cxn>
              <a:cxn ang="0">
                <a:pos x="37" y="191"/>
              </a:cxn>
              <a:cxn ang="0">
                <a:pos x="50" y="197"/>
              </a:cxn>
              <a:cxn ang="0">
                <a:pos x="60" y="207"/>
              </a:cxn>
              <a:cxn ang="0">
                <a:pos x="68" y="201"/>
              </a:cxn>
              <a:cxn ang="0">
                <a:pos x="75" y="190"/>
              </a:cxn>
              <a:cxn ang="0">
                <a:pos x="84" y="180"/>
              </a:cxn>
              <a:cxn ang="0">
                <a:pos x="91" y="181"/>
              </a:cxn>
              <a:cxn ang="0">
                <a:pos x="98" y="179"/>
              </a:cxn>
              <a:cxn ang="0">
                <a:pos x="106" y="178"/>
              </a:cxn>
              <a:cxn ang="0">
                <a:pos x="120" y="174"/>
              </a:cxn>
              <a:cxn ang="0">
                <a:pos x="149" y="164"/>
              </a:cxn>
              <a:cxn ang="0">
                <a:pos x="179" y="147"/>
              </a:cxn>
              <a:cxn ang="0">
                <a:pos x="197" y="135"/>
              </a:cxn>
              <a:cxn ang="0">
                <a:pos x="210" y="123"/>
              </a:cxn>
              <a:cxn ang="0">
                <a:pos x="218" y="111"/>
              </a:cxn>
              <a:cxn ang="0">
                <a:pos x="219" y="98"/>
              </a:cxn>
              <a:cxn ang="0">
                <a:pos x="214" y="88"/>
              </a:cxn>
              <a:cxn ang="0">
                <a:pos x="210" y="80"/>
              </a:cxn>
              <a:cxn ang="0">
                <a:pos x="207" y="72"/>
              </a:cxn>
              <a:cxn ang="0">
                <a:pos x="201" y="67"/>
              </a:cxn>
              <a:cxn ang="0">
                <a:pos x="191" y="65"/>
              </a:cxn>
              <a:cxn ang="0">
                <a:pos x="184" y="61"/>
              </a:cxn>
              <a:cxn ang="0">
                <a:pos x="180" y="54"/>
              </a:cxn>
              <a:cxn ang="0">
                <a:pos x="140" y="49"/>
              </a:cxn>
              <a:cxn ang="0">
                <a:pos x="136" y="44"/>
              </a:cxn>
              <a:cxn ang="0">
                <a:pos x="136" y="36"/>
              </a:cxn>
              <a:cxn ang="0">
                <a:pos x="140" y="18"/>
              </a:cxn>
              <a:cxn ang="0">
                <a:pos x="110" y="11"/>
              </a:cxn>
              <a:cxn ang="0">
                <a:pos x="97" y="12"/>
              </a:cxn>
              <a:cxn ang="0">
                <a:pos x="86" y="18"/>
              </a:cxn>
              <a:cxn ang="0">
                <a:pos x="104" y="5"/>
              </a:cxn>
              <a:cxn ang="0">
                <a:pos x="113" y="1"/>
              </a:cxn>
              <a:cxn ang="0">
                <a:pos x="127" y="0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29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7519988" y="3349626"/>
            <a:ext cx="63500" cy="119063"/>
          </a:xfrm>
          <a:custGeom>
            <a:avLst/>
            <a:gdLst/>
            <a:ahLst/>
            <a:cxnLst>
              <a:cxn ang="0">
                <a:pos x="41" y="228"/>
              </a:cxn>
              <a:cxn ang="0">
                <a:pos x="36" y="220"/>
              </a:cxn>
              <a:cxn ang="0">
                <a:pos x="29" y="208"/>
              </a:cxn>
              <a:cxn ang="0">
                <a:pos x="22" y="194"/>
              </a:cxn>
              <a:cxn ang="0">
                <a:pos x="16" y="178"/>
              </a:cxn>
              <a:cxn ang="0">
                <a:pos x="10" y="163"/>
              </a:cxn>
              <a:cxn ang="0">
                <a:pos x="5" y="148"/>
              </a:cxn>
              <a:cxn ang="0">
                <a:pos x="2" y="135"/>
              </a:cxn>
              <a:cxn ang="0">
                <a:pos x="0" y="123"/>
              </a:cxn>
              <a:cxn ang="0">
                <a:pos x="2" y="104"/>
              </a:cxn>
              <a:cxn ang="0">
                <a:pos x="4" y="87"/>
              </a:cxn>
              <a:cxn ang="0">
                <a:pos x="6" y="70"/>
              </a:cxn>
              <a:cxn ang="0">
                <a:pos x="9" y="55"/>
              </a:cxn>
              <a:cxn ang="0">
                <a:pos x="18" y="28"/>
              </a:cxn>
              <a:cxn ang="0">
                <a:pos x="28" y="0"/>
              </a:cxn>
              <a:cxn ang="0">
                <a:pos x="45" y="16"/>
              </a:cxn>
              <a:cxn ang="0">
                <a:pos x="62" y="28"/>
              </a:cxn>
              <a:cxn ang="0">
                <a:pos x="76" y="37"/>
              </a:cxn>
              <a:cxn ang="0">
                <a:pos x="89" y="48"/>
              </a:cxn>
              <a:cxn ang="0">
                <a:pos x="95" y="55"/>
              </a:cxn>
              <a:cxn ang="0">
                <a:pos x="101" y="63"/>
              </a:cxn>
              <a:cxn ang="0">
                <a:pos x="107" y="74"/>
              </a:cxn>
              <a:cxn ang="0">
                <a:pos x="114" y="86"/>
              </a:cxn>
              <a:cxn ang="0">
                <a:pos x="120" y="100"/>
              </a:cxn>
              <a:cxn ang="0">
                <a:pos x="127" y="117"/>
              </a:cxn>
              <a:cxn ang="0">
                <a:pos x="133" y="138"/>
              </a:cxn>
              <a:cxn ang="0">
                <a:pos x="141" y="161"/>
              </a:cxn>
              <a:cxn ang="0">
                <a:pos x="140" y="169"/>
              </a:cxn>
              <a:cxn ang="0">
                <a:pos x="138" y="177"/>
              </a:cxn>
              <a:cxn ang="0">
                <a:pos x="135" y="186"/>
              </a:cxn>
              <a:cxn ang="0">
                <a:pos x="131" y="192"/>
              </a:cxn>
              <a:cxn ang="0">
                <a:pos x="127" y="199"/>
              </a:cxn>
              <a:cxn ang="0">
                <a:pos x="121" y="204"/>
              </a:cxn>
              <a:cxn ang="0">
                <a:pos x="115" y="209"/>
              </a:cxn>
              <a:cxn ang="0">
                <a:pos x="108" y="213"/>
              </a:cxn>
              <a:cxn ang="0">
                <a:pos x="100" y="217"/>
              </a:cxn>
              <a:cxn ang="0">
                <a:pos x="93" y="220"/>
              </a:cxn>
              <a:cxn ang="0">
                <a:pos x="85" y="223"/>
              </a:cxn>
              <a:cxn ang="0">
                <a:pos x="76" y="225"/>
              </a:cxn>
              <a:cxn ang="0">
                <a:pos x="59" y="227"/>
              </a:cxn>
              <a:cxn ang="0">
                <a:pos x="41" y="228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grpSp>
        <p:nvGrpSpPr>
          <p:cNvPr id="2330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8459788" y="3060700"/>
            <a:ext cx="233362" cy="439738"/>
            <a:chOff x="5062" y="2295"/>
            <a:chExt cx="177" cy="279"/>
          </a:xfrm>
        </p:grpSpPr>
        <p:sp>
          <p:nvSpPr>
            <p:cNvPr id="2331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/>
              <a:ahLst/>
              <a:cxnLst>
                <a:cxn ang="0">
                  <a:pos x="39" y="110"/>
                </a:cxn>
                <a:cxn ang="0">
                  <a:pos x="42" y="109"/>
                </a:cxn>
                <a:cxn ang="0">
                  <a:pos x="46" y="106"/>
                </a:cxn>
                <a:cxn ang="0">
                  <a:pos x="49" y="101"/>
                </a:cxn>
                <a:cxn ang="0">
                  <a:pos x="52" y="96"/>
                </a:cxn>
                <a:cxn ang="0">
                  <a:pos x="54" y="90"/>
                </a:cxn>
                <a:cxn ang="0">
                  <a:pos x="57" y="84"/>
                </a:cxn>
                <a:cxn ang="0">
                  <a:pos x="59" y="78"/>
                </a:cxn>
                <a:cxn ang="0">
                  <a:pos x="60" y="73"/>
                </a:cxn>
                <a:cxn ang="0">
                  <a:pos x="59" y="60"/>
                </a:cxn>
                <a:cxn ang="0">
                  <a:pos x="58" y="48"/>
                </a:cxn>
                <a:cxn ang="0">
                  <a:pos x="57" y="38"/>
                </a:cxn>
                <a:cxn ang="0">
                  <a:pos x="54" y="29"/>
                </a:cxn>
                <a:cxn ang="0">
                  <a:pos x="51" y="21"/>
                </a:cxn>
                <a:cxn ang="0">
                  <a:pos x="48" y="13"/>
                </a:cxn>
                <a:cxn ang="0">
                  <a:pos x="45" y="6"/>
                </a:cxn>
                <a:cxn ang="0">
                  <a:pos x="39" y="0"/>
                </a:cxn>
                <a:cxn ang="0">
                  <a:pos x="35" y="3"/>
                </a:cxn>
                <a:cxn ang="0">
                  <a:pos x="30" y="8"/>
                </a:cxn>
                <a:cxn ang="0">
                  <a:pos x="27" y="13"/>
                </a:cxn>
                <a:cxn ang="0">
                  <a:pos x="24" y="18"/>
                </a:cxn>
                <a:cxn ang="0">
                  <a:pos x="18" y="29"/>
                </a:cxn>
                <a:cxn ang="0">
                  <a:pos x="15" y="40"/>
                </a:cxn>
                <a:cxn ang="0">
                  <a:pos x="10" y="51"/>
                </a:cxn>
                <a:cxn ang="0">
                  <a:pos x="7" y="62"/>
                </a:cxn>
                <a:cxn ang="0">
                  <a:pos x="6" y="66"/>
                </a:cxn>
                <a:cxn ang="0">
                  <a:pos x="4" y="69"/>
                </a:cxn>
                <a:cxn ang="0">
                  <a:pos x="2" y="72"/>
                </a:cxn>
                <a:cxn ang="0">
                  <a:pos x="0" y="73"/>
                </a:cxn>
                <a:cxn ang="0">
                  <a:pos x="1" y="78"/>
                </a:cxn>
                <a:cxn ang="0">
                  <a:pos x="3" y="84"/>
                </a:cxn>
                <a:cxn ang="0">
                  <a:pos x="7" y="90"/>
                </a:cxn>
                <a:cxn ang="0">
                  <a:pos x="12" y="96"/>
                </a:cxn>
                <a:cxn ang="0">
                  <a:pos x="18" y="101"/>
                </a:cxn>
                <a:cxn ang="0">
                  <a:pos x="25" y="106"/>
                </a:cxn>
                <a:cxn ang="0">
                  <a:pos x="32" y="109"/>
                </a:cxn>
                <a:cxn ang="0">
                  <a:pos x="39" y="110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32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8" y="18"/>
                </a:cxn>
                <a:cxn ang="0">
                  <a:pos x="15" y="25"/>
                </a:cxn>
                <a:cxn ang="0">
                  <a:pos x="23" y="32"/>
                </a:cxn>
                <a:cxn ang="0">
                  <a:pos x="31" y="40"/>
                </a:cxn>
                <a:cxn ang="0">
                  <a:pos x="37" y="48"/>
                </a:cxn>
                <a:cxn ang="0">
                  <a:pos x="42" y="57"/>
                </a:cxn>
                <a:cxn ang="0">
                  <a:pos x="45" y="65"/>
                </a:cxn>
                <a:cxn ang="0">
                  <a:pos x="46" y="75"/>
                </a:cxn>
                <a:cxn ang="0">
                  <a:pos x="72" y="75"/>
                </a:cxn>
                <a:cxn ang="0">
                  <a:pos x="65" y="50"/>
                </a:cxn>
                <a:cxn ang="0">
                  <a:pos x="60" y="34"/>
                </a:cxn>
                <a:cxn ang="0">
                  <a:pos x="60" y="27"/>
                </a:cxn>
                <a:cxn ang="0">
                  <a:pos x="63" y="19"/>
                </a:cxn>
                <a:cxn ang="0">
                  <a:pos x="67" y="11"/>
                </a:cxn>
                <a:cxn ang="0">
                  <a:pos x="72" y="1"/>
                </a:cxn>
                <a:cxn ang="0">
                  <a:pos x="52" y="0"/>
                </a:cxn>
                <a:cxn ang="0">
                  <a:pos x="32" y="0"/>
                </a:cxn>
                <a:cxn ang="0">
                  <a:pos x="22" y="1"/>
                </a:cxn>
                <a:cxn ang="0">
                  <a:pos x="13" y="3"/>
                </a:cxn>
                <a:cxn ang="0">
                  <a:pos x="9" y="5"/>
                </a:cxn>
                <a:cxn ang="0">
                  <a:pos x="6" y="7"/>
                </a:cxn>
                <a:cxn ang="0">
                  <a:pos x="2" y="10"/>
                </a:cxn>
                <a:cxn ang="0">
                  <a:pos x="0" y="13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33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/>
              <a:ahLst/>
              <a:cxnLst>
                <a:cxn ang="0">
                  <a:pos x="15" y="49"/>
                </a:cxn>
                <a:cxn ang="0">
                  <a:pos x="15" y="33"/>
                </a:cxn>
                <a:cxn ang="0">
                  <a:pos x="15" y="19"/>
                </a:cxn>
                <a:cxn ang="0">
                  <a:pos x="14" y="13"/>
                </a:cxn>
                <a:cxn ang="0">
                  <a:pos x="13" y="7"/>
                </a:cxn>
                <a:cxn ang="0">
                  <a:pos x="11" y="3"/>
                </a:cxn>
                <a:cxn ang="0">
                  <a:pos x="9" y="0"/>
                </a:cxn>
                <a:cxn ang="0">
                  <a:pos x="4" y="7"/>
                </a:cxn>
                <a:cxn ang="0">
                  <a:pos x="2" y="15"/>
                </a:cxn>
                <a:cxn ang="0">
                  <a:pos x="0" y="23"/>
                </a:cxn>
                <a:cxn ang="0">
                  <a:pos x="0" y="30"/>
                </a:cxn>
                <a:cxn ang="0">
                  <a:pos x="1" y="36"/>
                </a:cxn>
                <a:cxn ang="0">
                  <a:pos x="4" y="42"/>
                </a:cxn>
                <a:cxn ang="0">
                  <a:pos x="7" y="44"/>
                </a:cxn>
                <a:cxn ang="0">
                  <a:pos x="9" y="46"/>
                </a:cxn>
                <a:cxn ang="0">
                  <a:pos x="12" y="48"/>
                </a:cxn>
                <a:cxn ang="0">
                  <a:pos x="15" y="49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34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/>
              <a:ahLst/>
              <a:cxnLst>
                <a:cxn ang="0">
                  <a:pos x="20" y="6"/>
                </a:cxn>
                <a:cxn ang="0">
                  <a:pos x="0" y="37"/>
                </a:cxn>
                <a:cxn ang="0">
                  <a:pos x="6" y="39"/>
                </a:cxn>
                <a:cxn ang="0">
                  <a:pos x="12" y="40"/>
                </a:cxn>
                <a:cxn ang="0">
                  <a:pos x="19" y="39"/>
                </a:cxn>
                <a:cxn ang="0">
                  <a:pos x="26" y="38"/>
                </a:cxn>
                <a:cxn ang="0">
                  <a:pos x="32" y="36"/>
                </a:cxn>
                <a:cxn ang="0">
                  <a:pos x="39" y="33"/>
                </a:cxn>
                <a:cxn ang="0">
                  <a:pos x="43" y="30"/>
                </a:cxn>
                <a:cxn ang="0">
                  <a:pos x="47" y="25"/>
                </a:cxn>
                <a:cxn ang="0">
                  <a:pos x="47" y="0"/>
                </a:cxn>
                <a:cxn ang="0">
                  <a:pos x="41" y="0"/>
                </a:cxn>
                <a:cxn ang="0">
                  <a:pos x="33" y="1"/>
                </a:cxn>
                <a:cxn ang="0">
                  <a:pos x="26" y="3"/>
                </a:cxn>
                <a:cxn ang="0">
                  <a:pos x="20" y="6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35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8"/>
                </a:cxn>
                <a:cxn ang="0">
                  <a:pos x="6" y="13"/>
                </a:cxn>
                <a:cxn ang="0">
                  <a:pos x="12" y="19"/>
                </a:cxn>
                <a:cxn ang="0">
                  <a:pos x="17" y="23"/>
                </a:cxn>
                <a:cxn ang="0">
                  <a:pos x="23" y="26"/>
                </a:cxn>
                <a:cxn ang="0">
                  <a:pos x="28" y="29"/>
                </a:cxn>
                <a:cxn ang="0">
                  <a:pos x="34" y="31"/>
                </a:cxn>
                <a:cxn ang="0">
                  <a:pos x="39" y="31"/>
                </a:cxn>
                <a:cxn ang="0">
                  <a:pos x="33" y="22"/>
                </a:cxn>
                <a:cxn ang="0">
                  <a:pos x="25" y="14"/>
                </a:cxn>
                <a:cxn ang="0">
                  <a:pos x="16" y="7"/>
                </a:cxn>
                <a:cxn ang="0">
                  <a:pos x="6" y="0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36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4" y="19"/>
                </a:cxn>
                <a:cxn ang="0">
                  <a:pos x="34" y="0"/>
                </a:cxn>
                <a:cxn ang="0">
                  <a:pos x="24" y="0"/>
                </a:cxn>
                <a:cxn ang="0">
                  <a:pos x="14" y="0"/>
                </a:cxn>
                <a:cxn ang="0">
                  <a:pos x="7" y="0"/>
                </a:cxn>
                <a:cxn ang="0">
                  <a:pos x="0" y="0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37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9" y="12"/>
                </a:cxn>
                <a:cxn ang="0">
                  <a:pos x="13" y="6"/>
                </a:cxn>
                <a:cxn ang="0">
                  <a:pos x="6" y="6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38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/>
              <a:ahLst/>
              <a:cxnLst>
                <a:cxn ang="0">
                  <a:pos x="113" y="0"/>
                </a:cxn>
                <a:cxn ang="0">
                  <a:pos x="117" y="5"/>
                </a:cxn>
                <a:cxn ang="0">
                  <a:pos x="121" y="10"/>
                </a:cxn>
                <a:cxn ang="0">
                  <a:pos x="124" y="13"/>
                </a:cxn>
                <a:cxn ang="0">
                  <a:pos x="125" y="17"/>
                </a:cxn>
                <a:cxn ang="0">
                  <a:pos x="126" y="20"/>
                </a:cxn>
                <a:cxn ang="0">
                  <a:pos x="126" y="25"/>
                </a:cxn>
                <a:cxn ang="0">
                  <a:pos x="123" y="32"/>
                </a:cxn>
                <a:cxn ang="0">
                  <a:pos x="118" y="41"/>
                </a:cxn>
                <a:cxn ang="0">
                  <a:pos x="113" y="50"/>
                </a:cxn>
                <a:cxn ang="0">
                  <a:pos x="106" y="61"/>
                </a:cxn>
                <a:cxn ang="0">
                  <a:pos x="91" y="83"/>
                </a:cxn>
                <a:cxn ang="0">
                  <a:pos x="72" y="104"/>
                </a:cxn>
                <a:cxn ang="0">
                  <a:pos x="53" y="126"/>
                </a:cxn>
                <a:cxn ang="0">
                  <a:pos x="34" y="144"/>
                </a:cxn>
                <a:cxn ang="0">
                  <a:pos x="25" y="152"/>
                </a:cxn>
                <a:cxn ang="0">
                  <a:pos x="16" y="158"/>
                </a:cxn>
                <a:cxn ang="0">
                  <a:pos x="7" y="163"/>
                </a:cxn>
                <a:cxn ang="0">
                  <a:pos x="0" y="166"/>
                </a:cxn>
                <a:cxn ang="0">
                  <a:pos x="0" y="160"/>
                </a:cxn>
                <a:cxn ang="0">
                  <a:pos x="0" y="153"/>
                </a:cxn>
                <a:cxn ang="0">
                  <a:pos x="0" y="145"/>
                </a:cxn>
                <a:cxn ang="0">
                  <a:pos x="0" y="136"/>
                </a:cxn>
                <a:cxn ang="0">
                  <a:pos x="3" y="131"/>
                </a:cxn>
                <a:cxn ang="0">
                  <a:pos x="6" y="128"/>
                </a:cxn>
                <a:cxn ang="0">
                  <a:pos x="12" y="124"/>
                </a:cxn>
                <a:cxn ang="0">
                  <a:pos x="16" y="121"/>
                </a:cxn>
                <a:cxn ang="0">
                  <a:pos x="26" y="116"/>
                </a:cxn>
                <a:cxn ang="0">
                  <a:pos x="33" y="110"/>
                </a:cxn>
                <a:cxn ang="0">
                  <a:pos x="40" y="104"/>
                </a:cxn>
                <a:cxn ang="0">
                  <a:pos x="48" y="96"/>
                </a:cxn>
                <a:cxn ang="0">
                  <a:pos x="53" y="89"/>
                </a:cxn>
                <a:cxn ang="0">
                  <a:pos x="58" y="82"/>
                </a:cxn>
                <a:cxn ang="0">
                  <a:pos x="67" y="66"/>
                </a:cxn>
                <a:cxn ang="0">
                  <a:pos x="72" y="50"/>
                </a:cxn>
                <a:cxn ang="0">
                  <a:pos x="79" y="36"/>
                </a:cxn>
                <a:cxn ang="0">
                  <a:pos x="87" y="23"/>
                </a:cxn>
                <a:cxn ang="0">
                  <a:pos x="92" y="16"/>
                </a:cxn>
                <a:cxn ang="0">
                  <a:pos x="97" y="11"/>
                </a:cxn>
                <a:cxn ang="0">
                  <a:pos x="104" y="5"/>
                </a:cxn>
                <a:cxn ang="0">
                  <a:pos x="113" y="0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39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/>
              <a:ahLst/>
              <a:cxnLst>
                <a:cxn ang="0">
                  <a:pos x="8" y="182"/>
                </a:cxn>
                <a:cxn ang="0">
                  <a:pos x="1" y="163"/>
                </a:cxn>
                <a:cxn ang="0">
                  <a:pos x="0" y="142"/>
                </a:cxn>
                <a:cxn ang="0">
                  <a:pos x="6" y="130"/>
                </a:cxn>
                <a:cxn ang="0">
                  <a:pos x="19" y="126"/>
                </a:cxn>
                <a:cxn ang="0">
                  <a:pos x="34" y="117"/>
                </a:cxn>
                <a:cxn ang="0">
                  <a:pos x="48" y="100"/>
                </a:cxn>
                <a:cxn ang="0">
                  <a:pos x="60" y="91"/>
                </a:cxn>
                <a:cxn ang="0">
                  <a:pos x="68" y="87"/>
                </a:cxn>
                <a:cxn ang="0">
                  <a:pos x="83" y="87"/>
                </a:cxn>
                <a:cxn ang="0">
                  <a:pos x="94" y="93"/>
                </a:cxn>
                <a:cxn ang="0">
                  <a:pos x="101" y="105"/>
                </a:cxn>
                <a:cxn ang="0">
                  <a:pos x="108" y="110"/>
                </a:cxn>
                <a:cxn ang="0">
                  <a:pos x="120" y="110"/>
                </a:cxn>
                <a:cxn ang="0">
                  <a:pos x="135" y="104"/>
                </a:cxn>
                <a:cxn ang="0">
                  <a:pos x="148" y="93"/>
                </a:cxn>
                <a:cxn ang="0">
                  <a:pos x="160" y="78"/>
                </a:cxn>
                <a:cxn ang="0">
                  <a:pos x="174" y="51"/>
                </a:cxn>
                <a:cxn ang="0">
                  <a:pos x="188" y="16"/>
                </a:cxn>
                <a:cxn ang="0">
                  <a:pos x="195" y="4"/>
                </a:cxn>
                <a:cxn ang="0">
                  <a:pos x="202" y="12"/>
                </a:cxn>
                <a:cxn ang="0">
                  <a:pos x="213" y="18"/>
                </a:cxn>
                <a:cxn ang="0">
                  <a:pos x="219" y="32"/>
                </a:cxn>
                <a:cxn ang="0">
                  <a:pos x="219" y="52"/>
                </a:cxn>
                <a:cxn ang="0">
                  <a:pos x="227" y="61"/>
                </a:cxn>
                <a:cxn ang="0">
                  <a:pos x="234" y="70"/>
                </a:cxn>
                <a:cxn ang="0">
                  <a:pos x="234" y="88"/>
                </a:cxn>
                <a:cxn ang="0">
                  <a:pos x="234" y="104"/>
                </a:cxn>
                <a:cxn ang="0">
                  <a:pos x="237" y="110"/>
                </a:cxn>
                <a:cxn ang="0">
                  <a:pos x="243" y="121"/>
                </a:cxn>
                <a:cxn ang="0">
                  <a:pos x="249" y="137"/>
                </a:cxn>
                <a:cxn ang="0">
                  <a:pos x="254" y="161"/>
                </a:cxn>
                <a:cxn ang="0">
                  <a:pos x="245" y="235"/>
                </a:cxn>
                <a:cxn ang="0">
                  <a:pos x="239" y="222"/>
                </a:cxn>
                <a:cxn ang="0">
                  <a:pos x="237" y="208"/>
                </a:cxn>
                <a:cxn ang="0">
                  <a:pos x="239" y="192"/>
                </a:cxn>
                <a:cxn ang="0">
                  <a:pos x="222" y="188"/>
                </a:cxn>
                <a:cxn ang="0">
                  <a:pos x="206" y="179"/>
                </a:cxn>
                <a:cxn ang="0">
                  <a:pos x="194" y="199"/>
                </a:cxn>
                <a:cxn ang="0">
                  <a:pos x="188" y="219"/>
                </a:cxn>
                <a:cxn ang="0">
                  <a:pos x="185" y="259"/>
                </a:cxn>
                <a:cxn ang="0">
                  <a:pos x="124" y="242"/>
                </a:cxn>
                <a:cxn ang="0">
                  <a:pos x="110" y="220"/>
                </a:cxn>
                <a:cxn ang="0">
                  <a:pos x="99" y="209"/>
                </a:cxn>
                <a:cxn ang="0">
                  <a:pos x="97" y="196"/>
                </a:cxn>
                <a:cxn ang="0">
                  <a:pos x="105" y="186"/>
                </a:cxn>
                <a:cxn ang="0">
                  <a:pos x="112" y="180"/>
                </a:cxn>
                <a:cxn ang="0">
                  <a:pos x="117" y="173"/>
                </a:cxn>
                <a:cxn ang="0">
                  <a:pos x="93" y="154"/>
                </a:cxn>
                <a:cxn ang="0">
                  <a:pos x="28" y="155"/>
                </a:cxn>
                <a:cxn ang="0">
                  <a:pos x="20" y="163"/>
                </a:cxn>
                <a:cxn ang="0">
                  <a:pos x="16" y="175"/>
                </a:cxn>
                <a:cxn ang="0">
                  <a:pos x="13" y="187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40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/>
              <a:ahLst/>
              <a:cxnLst>
                <a:cxn ang="0">
                  <a:pos x="72" y="43"/>
                </a:cxn>
                <a:cxn ang="0">
                  <a:pos x="72" y="92"/>
                </a:cxn>
                <a:cxn ang="0">
                  <a:pos x="65" y="86"/>
                </a:cxn>
                <a:cxn ang="0">
                  <a:pos x="58" y="81"/>
                </a:cxn>
                <a:cxn ang="0">
                  <a:pos x="51" y="75"/>
                </a:cxn>
                <a:cxn ang="0">
                  <a:pos x="46" y="69"/>
                </a:cxn>
                <a:cxn ang="0">
                  <a:pos x="38" y="58"/>
                </a:cxn>
                <a:cxn ang="0">
                  <a:pos x="32" y="46"/>
                </a:cxn>
                <a:cxn ang="0">
                  <a:pos x="25" y="34"/>
                </a:cxn>
                <a:cxn ang="0">
                  <a:pos x="19" y="23"/>
                </a:cxn>
                <a:cxn ang="0">
                  <a:pos x="11" y="12"/>
                </a:cxn>
                <a:cxn ang="0">
                  <a:pos x="0" y="0"/>
                </a:cxn>
                <a:cxn ang="0">
                  <a:pos x="25" y="12"/>
                </a:cxn>
                <a:cxn ang="0">
                  <a:pos x="44" y="21"/>
                </a:cxn>
                <a:cxn ang="0">
                  <a:pos x="51" y="26"/>
                </a:cxn>
                <a:cxn ang="0">
                  <a:pos x="58" y="31"/>
                </a:cxn>
                <a:cxn ang="0">
                  <a:pos x="66" y="36"/>
                </a:cxn>
                <a:cxn ang="0">
                  <a:pos x="72" y="43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41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19" y="5"/>
                </a:cxn>
                <a:cxn ang="0">
                  <a:pos x="31" y="3"/>
                </a:cxn>
                <a:cxn ang="0">
                  <a:pos x="39" y="1"/>
                </a:cxn>
                <a:cxn ang="0">
                  <a:pos x="46" y="0"/>
                </a:cxn>
                <a:cxn ang="0">
                  <a:pos x="46" y="9"/>
                </a:cxn>
                <a:cxn ang="0">
                  <a:pos x="46" y="18"/>
                </a:cxn>
                <a:cxn ang="0">
                  <a:pos x="46" y="27"/>
                </a:cxn>
                <a:cxn ang="0">
                  <a:pos x="46" y="38"/>
                </a:cxn>
                <a:cxn ang="0">
                  <a:pos x="45" y="46"/>
                </a:cxn>
                <a:cxn ang="0">
                  <a:pos x="41" y="54"/>
                </a:cxn>
                <a:cxn ang="0">
                  <a:pos x="39" y="57"/>
                </a:cxn>
                <a:cxn ang="0">
                  <a:pos x="37" y="60"/>
                </a:cxn>
                <a:cxn ang="0">
                  <a:pos x="35" y="61"/>
                </a:cxn>
                <a:cxn ang="0">
                  <a:pos x="33" y="62"/>
                </a:cxn>
                <a:cxn ang="0">
                  <a:pos x="27" y="61"/>
                </a:cxn>
                <a:cxn ang="0">
                  <a:pos x="22" y="60"/>
                </a:cxn>
                <a:cxn ang="0">
                  <a:pos x="17" y="59"/>
                </a:cxn>
                <a:cxn ang="0">
                  <a:pos x="14" y="57"/>
                </a:cxn>
                <a:cxn ang="0">
                  <a:pos x="11" y="54"/>
                </a:cxn>
                <a:cxn ang="0">
                  <a:pos x="7" y="51"/>
                </a:cxn>
                <a:cxn ang="0">
                  <a:pos x="5" y="47"/>
                </a:cxn>
                <a:cxn ang="0">
                  <a:pos x="4" y="44"/>
                </a:cxn>
                <a:cxn ang="0">
                  <a:pos x="1" y="34"/>
                </a:cxn>
                <a:cxn ang="0">
                  <a:pos x="0" y="25"/>
                </a:cxn>
                <a:cxn ang="0">
                  <a:pos x="0" y="16"/>
                </a:cxn>
                <a:cxn ang="0">
                  <a:pos x="0" y="6"/>
                </a:cxn>
                <a:cxn ang="0">
                  <a:pos x="6" y="6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42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66" y="9"/>
                </a:cxn>
                <a:cxn ang="0">
                  <a:pos x="77" y="17"/>
                </a:cxn>
                <a:cxn ang="0">
                  <a:pos x="88" y="23"/>
                </a:cxn>
                <a:cxn ang="0">
                  <a:pos x="99" y="25"/>
                </a:cxn>
                <a:cxn ang="0">
                  <a:pos x="108" y="21"/>
                </a:cxn>
                <a:cxn ang="0">
                  <a:pos x="118" y="12"/>
                </a:cxn>
                <a:cxn ang="0">
                  <a:pos x="122" y="35"/>
                </a:cxn>
                <a:cxn ang="0">
                  <a:pos x="130" y="62"/>
                </a:cxn>
                <a:cxn ang="0">
                  <a:pos x="141" y="86"/>
                </a:cxn>
                <a:cxn ang="0">
                  <a:pos x="147" y="94"/>
                </a:cxn>
                <a:cxn ang="0">
                  <a:pos x="152" y="99"/>
                </a:cxn>
                <a:cxn ang="0">
                  <a:pos x="143" y="120"/>
                </a:cxn>
                <a:cxn ang="0">
                  <a:pos x="129" y="140"/>
                </a:cxn>
                <a:cxn ang="0">
                  <a:pos x="117" y="157"/>
                </a:cxn>
                <a:cxn ang="0">
                  <a:pos x="112" y="172"/>
                </a:cxn>
                <a:cxn ang="0">
                  <a:pos x="115" y="197"/>
                </a:cxn>
                <a:cxn ang="0">
                  <a:pos x="115" y="205"/>
                </a:cxn>
                <a:cxn ang="0">
                  <a:pos x="112" y="216"/>
                </a:cxn>
                <a:cxn ang="0">
                  <a:pos x="126" y="216"/>
                </a:cxn>
                <a:cxn ang="0">
                  <a:pos x="146" y="216"/>
                </a:cxn>
                <a:cxn ang="0">
                  <a:pos x="136" y="252"/>
                </a:cxn>
                <a:cxn ang="0">
                  <a:pos x="136" y="267"/>
                </a:cxn>
                <a:cxn ang="0">
                  <a:pos x="146" y="283"/>
                </a:cxn>
                <a:cxn ang="0">
                  <a:pos x="125" y="291"/>
                </a:cxn>
                <a:cxn ang="0">
                  <a:pos x="105" y="296"/>
                </a:cxn>
                <a:cxn ang="0">
                  <a:pos x="85" y="294"/>
                </a:cxn>
                <a:cxn ang="0">
                  <a:pos x="73" y="288"/>
                </a:cxn>
                <a:cxn ang="0">
                  <a:pos x="67" y="280"/>
                </a:cxn>
                <a:cxn ang="0">
                  <a:pos x="66" y="271"/>
                </a:cxn>
                <a:cxn ang="0">
                  <a:pos x="85" y="253"/>
                </a:cxn>
                <a:cxn ang="0">
                  <a:pos x="69" y="249"/>
                </a:cxn>
                <a:cxn ang="0">
                  <a:pos x="52" y="242"/>
                </a:cxn>
                <a:cxn ang="0">
                  <a:pos x="38" y="231"/>
                </a:cxn>
                <a:cxn ang="0">
                  <a:pos x="25" y="219"/>
                </a:cxn>
                <a:cxn ang="0">
                  <a:pos x="14" y="205"/>
                </a:cxn>
                <a:cxn ang="0">
                  <a:pos x="6" y="190"/>
                </a:cxn>
                <a:cxn ang="0">
                  <a:pos x="1" y="172"/>
                </a:cxn>
                <a:cxn ang="0">
                  <a:pos x="0" y="154"/>
                </a:cxn>
                <a:cxn ang="0">
                  <a:pos x="0" y="130"/>
                </a:cxn>
                <a:cxn ang="0">
                  <a:pos x="27" y="106"/>
                </a:cxn>
                <a:cxn ang="0">
                  <a:pos x="32" y="46"/>
                </a:cxn>
                <a:cxn ang="0">
                  <a:pos x="31" y="18"/>
                </a:cxn>
                <a:cxn ang="0">
                  <a:pos x="28" y="4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43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/>
              <a:ahLst/>
              <a:cxnLst>
                <a:cxn ang="0">
                  <a:pos x="26" y="38"/>
                </a:cxn>
                <a:cxn ang="0">
                  <a:pos x="26" y="0"/>
                </a:cxn>
                <a:cxn ang="0">
                  <a:pos x="21" y="1"/>
                </a:cxn>
                <a:cxn ang="0">
                  <a:pos x="13" y="4"/>
                </a:cxn>
                <a:cxn ang="0">
                  <a:pos x="6" y="8"/>
                </a:cxn>
                <a:cxn ang="0">
                  <a:pos x="0" y="13"/>
                </a:cxn>
                <a:cxn ang="0">
                  <a:pos x="18" y="30"/>
                </a:cxn>
                <a:cxn ang="0">
                  <a:pos x="26" y="38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44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22"/>
                </a:cxn>
                <a:cxn ang="0">
                  <a:pos x="17" y="26"/>
                </a:cxn>
                <a:cxn ang="0">
                  <a:pos x="27" y="30"/>
                </a:cxn>
                <a:cxn ang="0">
                  <a:pos x="34" y="31"/>
                </a:cxn>
                <a:cxn ang="0">
                  <a:pos x="33" y="24"/>
                </a:cxn>
                <a:cxn ang="0">
                  <a:pos x="30" y="15"/>
                </a:cxn>
                <a:cxn ang="0">
                  <a:pos x="26" y="6"/>
                </a:cxn>
                <a:cxn ang="0">
                  <a:pos x="20" y="0"/>
                </a:cxn>
                <a:cxn ang="0">
                  <a:pos x="16" y="5"/>
                </a:cxn>
                <a:cxn ang="0">
                  <a:pos x="10" y="11"/>
                </a:cxn>
                <a:cxn ang="0">
                  <a:pos x="8" y="14"/>
                </a:cxn>
                <a:cxn ang="0">
                  <a:pos x="6" y="16"/>
                </a:cxn>
                <a:cxn ang="0">
                  <a:pos x="4" y="18"/>
                </a:cxn>
                <a:cxn ang="0">
                  <a:pos x="0" y="18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45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37"/>
                </a:cxn>
                <a:cxn ang="0">
                  <a:pos x="7" y="33"/>
                </a:cxn>
                <a:cxn ang="0">
                  <a:pos x="20" y="30"/>
                </a:cxn>
                <a:cxn ang="0">
                  <a:pos x="20" y="0"/>
                </a:cxn>
                <a:cxn ang="0">
                  <a:pos x="0" y="6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46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47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" y="13"/>
                </a:cxn>
                <a:cxn ang="0">
                  <a:pos x="3" y="9"/>
                </a:cxn>
                <a:cxn ang="0">
                  <a:pos x="7" y="4"/>
                </a:cxn>
                <a:cxn ang="0">
                  <a:pos x="13" y="0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48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49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0" y="31"/>
                </a:cxn>
                <a:cxn ang="0">
                  <a:pos x="27" y="13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50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10" y="0"/>
                </a:cxn>
                <a:cxn ang="0">
                  <a:pos x="0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51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6" y="13"/>
                </a:cxn>
                <a:cxn ang="0">
                  <a:pos x="10" y="11"/>
                </a:cxn>
                <a:cxn ang="0">
                  <a:pos x="16" y="10"/>
                </a:cxn>
                <a:cxn ang="0">
                  <a:pos x="20" y="7"/>
                </a:cxn>
                <a:cxn ang="0">
                  <a:pos x="28" y="2"/>
                </a:cxn>
                <a:cxn ang="0">
                  <a:pos x="34" y="0"/>
                </a:cxn>
                <a:cxn ang="0">
                  <a:pos x="25" y="0"/>
                </a:cxn>
                <a:cxn ang="0">
                  <a:pos x="15" y="0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52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/>
              <a:ahLst/>
              <a:cxnLst>
                <a:cxn ang="0">
                  <a:pos x="34" y="18"/>
                </a:cxn>
                <a:cxn ang="0">
                  <a:pos x="34" y="0"/>
                </a:cxn>
                <a:cxn ang="0">
                  <a:pos x="28" y="0"/>
                </a:cxn>
                <a:cxn ang="0">
                  <a:pos x="20" y="0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34" y="18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53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/>
              <a:ahLst/>
              <a:cxnLst>
                <a:cxn ang="0">
                  <a:pos x="53" y="25"/>
                </a:cxn>
                <a:cxn ang="0">
                  <a:pos x="56" y="12"/>
                </a:cxn>
                <a:cxn ang="0">
                  <a:pos x="59" y="0"/>
                </a:cxn>
                <a:cxn ang="0">
                  <a:pos x="44" y="0"/>
                </a:cxn>
                <a:cxn ang="0">
                  <a:pos x="27" y="0"/>
                </a:cxn>
                <a:cxn ang="0">
                  <a:pos x="19" y="1"/>
                </a:cxn>
                <a:cxn ang="0">
                  <a:pos x="12" y="2"/>
                </a:cxn>
                <a:cxn ang="0">
                  <a:pos x="5" y="4"/>
                </a:cxn>
                <a:cxn ang="0">
                  <a:pos x="0" y="6"/>
                </a:cxn>
                <a:cxn ang="0">
                  <a:pos x="13" y="14"/>
                </a:cxn>
                <a:cxn ang="0">
                  <a:pos x="26" y="20"/>
                </a:cxn>
                <a:cxn ang="0">
                  <a:pos x="33" y="22"/>
                </a:cxn>
                <a:cxn ang="0">
                  <a:pos x="38" y="24"/>
                </a:cxn>
                <a:cxn ang="0">
                  <a:pos x="46" y="25"/>
                </a:cxn>
                <a:cxn ang="0">
                  <a:pos x="53" y="25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354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2355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8804275" y="3879851"/>
            <a:ext cx="14288" cy="55563"/>
          </a:xfrm>
          <a:custGeom>
            <a:avLst/>
            <a:gdLst/>
            <a:ahLst/>
            <a:cxnLst>
              <a:cxn ang="0">
                <a:pos x="0" y="43"/>
              </a:cxn>
              <a:cxn ang="0">
                <a:pos x="1" y="34"/>
              </a:cxn>
              <a:cxn ang="0">
                <a:pos x="2" y="27"/>
              </a:cxn>
              <a:cxn ang="0">
                <a:pos x="5" y="21"/>
              </a:cxn>
              <a:cxn ang="0">
                <a:pos x="9" y="15"/>
              </a:cxn>
              <a:cxn ang="0">
                <a:pos x="14" y="9"/>
              </a:cxn>
              <a:cxn ang="0">
                <a:pos x="20" y="5"/>
              </a:cxn>
              <a:cxn ang="0">
                <a:pos x="26" y="2"/>
              </a:cxn>
              <a:cxn ang="0">
                <a:pos x="33" y="0"/>
              </a:cxn>
              <a:cxn ang="0">
                <a:pos x="33" y="25"/>
              </a:cxn>
              <a:cxn ang="0">
                <a:pos x="23" y="27"/>
              </a:cxn>
              <a:cxn ang="0">
                <a:pos x="18" y="29"/>
              </a:cxn>
              <a:cxn ang="0">
                <a:pos x="16" y="32"/>
              </a:cxn>
              <a:cxn ang="0">
                <a:pos x="16" y="34"/>
              </a:cxn>
              <a:cxn ang="0">
                <a:pos x="16" y="36"/>
              </a:cxn>
              <a:cxn ang="0">
                <a:pos x="14" y="38"/>
              </a:cxn>
              <a:cxn ang="0">
                <a:pos x="10" y="41"/>
              </a:cxn>
              <a:cxn ang="0">
                <a:pos x="0" y="43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56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8880476" y="3819525"/>
            <a:ext cx="22225" cy="58738"/>
          </a:xfrm>
          <a:custGeom>
            <a:avLst/>
            <a:gdLst/>
            <a:ahLst/>
            <a:cxnLst>
              <a:cxn ang="0">
                <a:pos x="0" y="55"/>
              </a:cxn>
              <a:cxn ang="0">
                <a:pos x="1" y="51"/>
              </a:cxn>
              <a:cxn ang="0">
                <a:pos x="2" y="46"/>
              </a:cxn>
              <a:cxn ang="0">
                <a:pos x="3" y="42"/>
              </a:cxn>
              <a:cxn ang="0">
                <a:pos x="6" y="37"/>
              </a:cxn>
              <a:cxn ang="0">
                <a:pos x="11" y="29"/>
              </a:cxn>
              <a:cxn ang="0">
                <a:pos x="18" y="21"/>
              </a:cxn>
              <a:cxn ang="0">
                <a:pos x="31" y="7"/>
              </a:cxn>
              <a:cxn ang="0">
                <a:pos x="41" y="0"/>
              </a:cxn>
              <a:cxn ang="0">
                <a:pos x="54" y="12"/>
              </a:cxn>
              <a:cxn ang="0">
                <a:pos x="51" y="21"/>
              </a:cxn>
              <a:cxn ang="0">
                <a:pos x="47" y="29"/>
              </a:cxn>
              <a:cxn ang="0">
                <a:pos x="44" y="35"/>
              </a:cxn>
              <a:cxn ang="0">
                <a:pos x="41" y="41"/>
              </a:cxn>
              <a:cxn ang="0">
                <a:pos x="33" y="49"/>
              </a:cxn>
              <a:cxn ang="0">
                <a:pos x="28" y="55"/>
              </a:cxn>
              <a:cxn ang="0">
                <a:pos x="26" y="64"/>
              </a:cxn>
              <a:cxn ang="0">
                <a:pos x="26" y="74"/>
              </a:cxn>
              <a:cxn ang="0">
                <a:pos x="24" y="83"/>
              </a:cxn>
              <a:cxn ang="0">
                <a:pos x="20" y="92"/>
              </a:cxn>
              <a:cxn ang="0">
                <a:pos x="14" y="83"/>
              </a:cxn>
              <a:cxn ang="0">
                <a:pos x="8" y="74"/>
              </a:cxn>
              <a:cxn ang="0">
                <a:pos x="5" y="70"/>
              </a:cxn>
              <a:cxn ang="0">
                <a:pos x="2" y="64"/>
              </a:cxn>
              <a:cxn ang="0">
                <a:pos x="1" y="60"/>
              </a:cxn>
              <a:cxn ang="0">
                <a:pos x="0" y="55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57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8928101" y="3698875"/>
            <a:ext cx="23813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9" y="4"/>
              </a:cxn>
              <a:cxn ang="0">
                <a:pos x="37" y="9"/>
              </a:cxn>
              <a:cxn ang="0">
                <a:pos x="45" y="11"/>
              </a:cxn>
              <a:cxn ang="0">
                <a:pos x="51" y="13"/>
              </a:cxn>
              <a:cxn ang="0">
                <a:pos x="56" y="16"/>
              </a:cxn>
              <a:cxn ang="0">
                <a:pos x="60" y="18"/>
              </a:cxn>
              <a:cxn ang="0">
                <a:pos x="38" y="18"/>
              </a:cxn>
              <a:cxn ang="0">
                <a:pos x="23" y="18"/>
              </a:cxn>
              <a:cxn ang="0">
                <a:pos x="10" y="18"/>
              </a:cxn>
              <a:cxn ang="0">
                <a:pos x="0" y="18"/>
              </a:cxn>
              <a:cxn ang="0">
                <a:pos x="0" y="0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58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8912225" y="3668713"/>
            <a:ext cx="25400" cy="57150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66" y="18"/>
              </a:cxn>
              <a:cxn ang="0">
                <a:pos x="52" y="13"/>
              </a:cxn>
              <a:cxn ang="0">
                <a:pos x="40" y="7"/>
              </a:cxn>
              <a:cxn ang="0">
                <a:pos x="35" y="4"/>
              </a:cxn>
              <a:cxn ang="0">
                <a:pos x="29" y="2"/>
              </a:cxn>
              <a:cxn ang="0">
                <a:pos x="25" y="1"/>
              </a:cxn>
              <a:cxn ang="0">
                <a:pos x="19" y="0"/>
              </a:cxn>
              <a:cxn ang="0">
                <a:pos x="0" y="18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59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8737600" y="3565525"/>
            <a:ext cx="7938" cy="57150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13" y="42"/>
              </a:cxn>
              <a:cxn ang="0">
                <a:pos x="14" y="33"/>
              </a:cxn>
              <a:cxn ang="0">
                <a:pos x="16" y="23"/>
              </a:cxn>
              <a:cxn ang="0">
                <a:pos x="17" y="18"/>
              </a:cxn>
              <a:cxn ang="0">
                <a:pos x="16" y="12"/>
              </a:cxn>
              <a:cxn ang="0">
                <a:pos x="16" y="6"/>
              </a:cxn>
              <a:cxn ang="0">
                <a:pos x="13" y="0"/>
              </a:cxn>
              <a:cxn ang="0">
                <a:pos x="0" y="36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60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8664576" y="3700464"/>
            <a:ext cx="30163" cy="58737"/>
          </a:xfrm>
          <a:custGeom>
            <a:avLst/>
            <a:gdLst/>
            <a:ahLst/>
            <a:cxnLst>
              <a:cxn ang="0">
                <a:pos x="6" y="29"/>
              </a:cxn>
              <a:cxn ang="0">
                <a:pos x="15" y="26"/>
              </a:cxn>
              <a:cxn ang="0">
                <a:pos x="24" y="24"/>
              </a:cxn>
              <a:cxn ang="0">
                <a:pos x="32" y="24"/>
              </a:cxn>
              <a:cxn ang="0">
                <a:pos x="39" y="24"/>
              </a:cxn>
              <a:cxn ang="0">
                <a:pos x="55" y="27"/>
              </a:cxn>
              <a:cxn ang="0">
                <a:pos x="72" y="29"/>
              </a:cxn>
              <a:cxn ang="0">
                <a:pos x="72" y="4"/>
              </a:cxn>
              <a:cxn ang="0">
                <a:pos x="58" y="1"/>
              </a:cxn>
              <a:cxn ang="0">
                <a:pos x="47" y="0"/>
              </a:cxn>
              <a:cxn ang="0">
                <a:pos x="39" y="0"/>
              </a:cxn>
              <a:cxn ang="0">
                <a:pos x="34" y="2"/>
              </a:cxn>
              <a:cxn ang="0">
                <a:pos x="27" y="3"/>
              </a:cxn>
              <a:cxn ang="0">
                <a:pos x="21" y="5"/>
              </a:cxn>
              <a:cxn ang="0">
                <a:pos x="12" y="5"/>
              </a:cxn>
              <a:cxn ang="0">
                <a:pos x="0" y="4"/>
              </a:cxn>
              <a:cxn ang="0">
                <a:pos x="3" y="16"/>
              </a:cxn>
              <a:cxn ang="0">
                <a:pos x="6" y="29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61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8672513" y="3886201"/>
            <a:ext cx="19050" cy="55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" y="9"/>
              </a:cxn>
              <a:cxn ang="0">
                <a:pos x="20" y="15"/>
              </a:cxn>
              <a:cxn ang="0">
                <a:pos x="31" y="20"/>
              </a:cxn>
              <a:cxn ang="0">
                <a:pos x="46" y="25"/>
              </a:cxn>
              <a:cxn ang="0">
                <a:pos x="37" y="29"/>
              </a:cxn>
              <a:cxn ang="0">
                <a:pos x="29" y="33"/>
              </a:cxn>
              <a:cxn ang="0">
                <a:pos x="21" y="36"/>
              </a:cxn>
              <a:cxn ang="0">
                <a:pos x="13" y="37"/>
              </a:cxn>
              <a:cxn ang="0">
                <a:pos x="9" y="36"/>
              </a:cxn>
              <a:cxn ang="0">
                <a:pos x="7" y="33"/>
              </a:cxn>
              <a:cxn ang="0">
                <a:pos x="5" y="29"/>
              </a:cxn>
              <a:cxn ang="0">
                <a:pos x="3" y="23"/>
              </a:cxn>
              <a:cxn ang="0">
                <a:pos x="1" y="12"/>
              </a:cxn>
              <a:cxn ang="0">
                <a:pos x="0" y="0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62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8785226" y="3705225"/>
            <a:ext cx="11113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6" y="19"/>
              </a:cxn>
              <a:cxn ang="0">
                <a:pos x="26" y="9"/>
              </a:cxn>
              <a:cxn ang="0">
                <a:pos x="26" y="0"/>
              </a:cxn>
              <a:cxn ang="0">
                <a:pos x="15" y="0"/>
              </a:cxn>
              <a:cxn ang="0">
                <a:pos x="0" y="0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63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8645525" y="3700464"/>
            <a:ext cx="19050" cy="58737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1" y="12"/>
              </a:cxn>
              <a:cxn ang="0">
                <a:pos x="0" y="23"/>
              </a:cxn>
              <a:cxn ang="0">
                <a:pos x="0" y="26"/>
              </a:cxn>
              <a:cxn ang="0">
                <a:pos x="0" y="29"/>
              </a:cxn>
              <a:cxn ang="0">
                <a:pos x="0" y="31"/>
              </a:cxn>
              <a:cxn ang="0">
                <a:pos x="2" y="31"/>
              </a:cxn>
              <a:cxn ang="0">
                <a:pos x="13" y="22"/>
              </a:cxn>
              <a:cxn ang="0">
                <a:pos x="25" y="13"/>
              </a:cxn>
              <a:cxn ang="0">
                <a:pos x="35" y="5"/>
              </a:cxn>
              <a:cxn ang="0">
                <a:pos x="43" y="0"/>
              </a:cxn>
              <a:cxn ang="0">
                <a:pos x="2" y="0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64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8689976" y="3748088"/>
            <a:ext cx="30163" cy="57150"/>
          </a:xfrm>
          <a:custGeom>
            <a:avLst/>
            <a:gdLst/>
            <a:ahLst/>
            <a:cxnLst>
              <a:cxn ang="0">
                <a:pos x="4" y="12"/>
              </a:cxn>
              <a:cxn ang="0">
                <a:pos x="4" y="18"/>
              </a:cxn>
              <a:cxn ang="0">
                <a:pos x="5" y="25"/>
              </a:cxn>
              <a:cxn ang="0">
                <a:pos x="7" y="31"/>
              </a:cxn>
              <a:cxn ang="0">
                <a:pos x="9" y="37"/>
              </a:cxn>
              <a:cxn ang="0">
                <a:pos x="14" y="41"/>
              </a:cxn>
              <a:cxn ang="0">
                <a:pos x="18" y="46"/>
              </a:cxn>
              <a:cxn ang="0">
                <a:pos x="23" y="48"/>
              </a:cxn>
              <a:cxn ang="0">
                <a:pos x="30" y="49"/>
              </a:cxn>
              <a:cxn ang="0">
                <a:pos x="35" y="48"/>
              </a:cxn>
              <a:cxn ang="0">
                <a:pos x="40" y="46"/>
              </a:cxn>
              <a:cxn ang="0">
                <a:pos x="45" y="42"/>
              </a:cxn>
              <a:cxn ang="0">
                <a:pos x="50" y="37"/>
              </a:cxn>
              <a:cxn ang="0">
                <a:pos x="60" y="28"/>
              </a:cxn>
              <a:cxn ang="0">
                <a:pos x="71" y="18"/>
              </a:cxn>
              <a:cxn ang="0">
                <a:pos x="61" y="12"/>
              </a:cxn>
              <a:cxn ang="0">
                <a:pos x="52" y="9"/>
              </a:cxn>
              <a:cxn ang="0">
                <a:pos x="44" y="7"/>
              </a:cxn>
              <a:cxn ang="0">
                <a:pos x="37" y="6"/>
              </a:cxn>
              <a:cxn ang="0">
                <a:pos x="29" y="6"/>
              </a:cxn>
              <a:cxn ang="0">
                <a:pos x="21" y="5"/>
              </a:cxn>
              <a:cxn ang="0">
                <a:pos x="14" y="3"/>
              </a:cxn>
              <a:cxn ang="0">
                <a:pos x="4" y="0"/>
              </a:cxn>
              <a:cxn ang="0">
                <a:pos x="3" y="1"/>
              </a:cxn>
              <a:cxn ang="0">
                <a:pos x="1" y="6"/>
              </a:cxn>
              <a:cxn ang="0">
                <a:pos x="0" y="8"/>
              </a:cxn>
              <a:cxn ang="0">
                <a:pos x="0" y="10"/>
              </a:cxn>
              <a:cxn ang="0">
                <a:pos x="1" y="11"/>
              </a:cxn>
              <a:cxn ang="0">
                <a:pos x="4" y="12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65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8491539" y="3951289"/>
            <a:ext cx="46037" cy="58737"/>
          </a:xfrm>
          <a:custGeom>
            <a:avLst/>
            <a:gdLst/>
            <a:ahLst/>
            <a:cxnLst>
              <a:cxn ang="0">
                <a:pos x="46" y="2"/>
              </a:cxn>
              <a:cxn ang="0">
                <a:pos x="56" y="2"/>
              </a:cxn>
              <a:cxn ang="0">
                <a:pos x="66" y="3"/>
              </a:cxn>
              <a:cxn ang="0">
                <a:pos x="74" y="4"/>
              </a:cxn>
              <a:cxn ang="0">
                <a:pos x="84" y="6"/>
              </a:cxn>
              <a:cxn ang="0">
                <a:pos x="92" y="9"/>
              </a:cxn>
              <a:cxn ang="0">
                <a:pos x="100" y="12"/>
              </a:cxn>
              <a:cxn ang="0">
                <a:pos x="106" y="16"/>
              </a:cxn>
              <a:cxn ang="0">
                <a:pos x="112" y="20"/>
              </a:cxn>
              <a:cxn ang="0">
                <a:pos x="110" y="22"/>
              </a:cxn>
              <a:cxn ang="0">
                <a:pos x="105" y="23"/>
              </a:cxn>
              <a:cxn ang="0">
                <a:pos x="101" y="25"/>
              </a:cxn>
              <a:cxn ang="0">
                <a:pos x="95" y="25"/>
              </a:cxn>
              <a:cxn ang="0">
                <a:pos x="87" y="26"/>
              </a:cxn>
              <a:cxn ang="0">
                <a:pos x="79" y="26"/>
              </a:cxn>
              <a:cxn ang="0">
                <a:pos x="66" y="24"/>
              </a:cxn>
              <a:cxn ang="0">
                <a:pos x="41" y="19"/>
              </a:cxn>
              <a:cxn ang="0">
                <a:pos x="16" y="13"/>
              </a:cxn>
              <a:cxn ang="0">
                <a:pos x="0" y="8"/>
              </a:cxn>
              <a:cxn ang="0">
                <a:pos x="5" y="4"/>
              </a:cxn>
              <a:cxn ang="0">
                <a:pos x="11" y="2"/>
              </a:cxn>
              <a:cxn ang="0">
                <a:pos x="18" y="1"/>
              </a:cxn>
              <a:cxn ang="0">
                <a:pos x="25" y="0"/>
              </a:cxn>
              <a:cxn ang="0">
                <a:pos x="37" y="1"/>
              </a:cxn>
              <a:cxn ang="0">
                <a:pos x="46" y="2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66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8589964" y="3989389"/>
            <a:ext cx="14287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1" y="0"/>
              </a:cxn>
              <a:cxn ang="0">
                <a:pos x="28" y="8"/>
              </a:cxn>
              <a:cxn ang="0">
                <a:pos x="18" y="15"/>
              </a:cxn>
              <a:cxn ang="0">
                <a:pos x="9" y="20"/>
              </a:cxn>
              <a:cxn ang="0">
                <a:pos x="0" y="25"/>
              </a:cxn>
              <a:cxn ang="0">
                <a:pos x="0" y="0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67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8423276" y="3921126"/>
            <a:ext cx="36513" cy="55563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22"/>
              </a:cxn>
              <a:cxn ang="0">
                <a:pos x="0" y="13"/>
              </a:cxn>
              <a:cxn ang="0">
                <a:pos x="0" y="10"/>
              </a:cxn>
              <a:cxn ang="0">
                <a:pos x="2" y="8"/>
              </a:cxn>
              <a:cxn ang="0">
                <a:pos x="3" y="6"/>
              </a:cxn>
              <a:cxn ang="0">
                <a:pos x="4" y="4"/>
              </a:cxn>
              <a:cxn ang="0">
                <a:pos x="8" y="2"/>
              </a:cxn>
              <a:cxn ang="0">
                <a:pos x="14" y="0"/>
              </a:cxn>
              <a:cxn ang="0">
                <a:pos x="26" y="1"/>
              </a:cxn>
              <a:cxn ang="0">
                <a:pos x="41" y="1"/>
              </a:cxn>
              <a:cxn ang="0">
                <a:pos x="56" y="1"/>
              </a:cxn>
              <a:cxn ang="0">
                <a:pos x="65" y="1"/>
              </a:cxn>
              <a:cxn ang="0">
                <a:pos x="73" y="1"/>
              </a:cxn>
              <a:cxn ang="0">
                <a:pos x="81" y="1"/>
              </a:cxn>
              <a:cxn ang="0">
                <a:pos x="73" y="6"/>
              </a:cxn>
              <a:cxn ang="0">
                <a:pos x="67" y="10"/>
              </a:cxn>
              <a:cxn ang="0">
                <a:pos x="64" y="14"/>
              </a:cxn>
              <a:cxn ang="0">
                <a:pos x="62" y="18"/>
              </a:cxn>
              <a:cxn ang="0">
                <a:pos x="59" y="21"/>
              </a:cxn>
              <a:cxn ang="0">
                <a:pos x="54" y="23"/>
              </a:cxn>
              <a:cxn ang="0">
                <a:pos x="47" y="25"/>
              </a:cxn>
              <a:cxn ang="0">
                <a:pos x="34" y="25"/>
              </a:cxn>
              <a:cxn ang="0">
                <a:pos x="0" y="31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68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8467725" y="3906838"/>
            <a:ext cx="39688" cy="55562"/>
          </a:xfrm>
          <a:custGeom>
            <a:avLst/>
            <a:gdLst/>
            <a:ahLst/>
            <a:cxnLst>
              <a:cxn ang="0">
                <a:pos x="2" y="49"/>
              </a:cxn>
              <a:cxn ang="0">
                <a:pos x="89" y="49"/>
              </a:cxn>
              <a:cxn ang="0">
                <a:pos x="78" y="41"/>
              </a:cxn>
              <a:cxn ang="0">
                <a:pos x="68" y="35"/>
              </a:cxn>
              <a:cxn ang="0">
                <a:pos x="57" y="30"/>
              </a:cxn>
              <a:cxn ang="0">
                <a:pos x="46" y="25"/>
              </a:cxn>
              <a:cxn ang="0">
                <a:pos x="36" y="21"/>
              </a:cxn>
              <a:cxn ang="0">
                <a:pos x="26" y="14"/>
              </a:cxn>
              <a:cxn ang="0">
                <a:pos x="16" y="8"/>
              </a:cxn>
              <a:cxn ang="0">
                <a:pos x="9" y="0"/>
              </a:cxn>
              <a:cxn ang="0">
                <a:pos x="4" y="10"/>
              </a:cxn>
              <a:cxn ang="0">
                <a:pos x="1" y="23"/>
              </a:cxn>
              <a:cxn ang="0">
                <a:pos x="0" y="29"/>
              </a:cxn>
              <a:cxn ang="0">
                <a:pos x="0" y="36"/>
              </a:cxn>
              <a:cxn ang="0">
                <a:pos x="0" y="43"/>
              </a:cxn>
              <a:cxn ang="0">
                <a:pos x="2" y="49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69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8520113" y="3916364"/>
            <a:ext cx="36512" cy="58737"/>
          </a:xfrm>
          <a:custGeom>
            <a:avLst/>
            <a:gdLst/>
            <a:ahLst/>
            <a:cxnLst>
              <a:cxn ang="0">
                <a:pos x="0" y="21"/>
              </a:cxn>
              <a:cxn ang="0">
                <a:pos x="14" y="26"/>
              </a:cxn>
              <a:cxn ang="0">
                <a:pos x="25" y="29"/>
              </a:cxn>
              <a:cxn ang="0">
                <a:pos x="30" y="30"/>
              </a:cxn>
              <a:cxn ang="0">
                <a:pos x="36" y="30"/>
              </a:cxn>
              <a:cxn ang="0">
                <a:pos x="41" y="29"/>
              </a:cxn>
              <a:cxn ang="0">
                <a:pos x="46" y="27"/>
              </a:cxn>
              <a:cxn ang="0">
                <a:pos x="46" y="36"/>
              </a:cxn>
              <a:cxn ang="0">
                <a:pos x="46" y="46"/>
              </a:cxn>
              <a:cxn ang="0">
                <a:pos x="56" y="45"/>
              </a:cxn>
              <a:cxn ang="0">
                <a:pos x="67" y="43"/>
              </a:cxn>
              <a:cxn ang="0">
                <a:pos x="77" y="40"/>
              </a:cxn>
              <a:cxn ang="0">
                <a:pos x="86" y="40"/>
              </a:cxn>
              <a:cxn ang="0">
                <a:pos x="83" y="32"/>
              </a:cxn>
              <a:cxn ang="0">
                <a:pos x="80" y="25"/>
              </a:cxn>
              <a:cxn ang="0">
                <a:pos x="74" y="19"/>
              </a:cxn>
              <a:cxn ang="0">
                <a:pos x="70" y="14"/>
              </a:cxn>
              <a:cxn ang="0">
                <a:pos x="64" y="9"/>
              </a:cxn>
              <a:cxn ang="0">
                <a:pos x="58" y="6"/>
              </a:cxn>
              <a:cxn ang="0">
                <a:pos x="51" y="3"/>
              </a:cxn>
              <a:cxn ang="0">
                <a:pos x="46" y="1"/>
              </a:cxn>
              <a:cxn ang="0">
                <a:pos x="39" y="0"/>
              </a:cxn>
              <a:cxn ang="0">
                <a:pos x="33" y="0"/>
              </a:cxn>
              <a:cxn ang="0">
                <a:pos x="26" y="1"/>
              </a:cxn>
              <a:cxn ang="0">
                <a:pos x="19" y="3"/>
              </a:cxn>
              <a:cxn ang="0">
                <a:pos x="14" y="6"/>
              </a:cxn>
              <a:cxn ang="0">
                <a:pos x="8" y="10"/>
              </a:cxn>
              <a:cxn ang="0">
                <a:pos x="4" y="15"/>
              </a:cxn>
              <a:cxn ang="0">
                <a:pos x="0" y="21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70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8572500" y="3921126"/>
            <a:ext cx="25400" cy="55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8"/>
              </a:cxn>
              <a:cxn ang="0">
                <a:pos x="39" y="18"/>
              </a:cxn>
              <a:cxn ang="0">
                <a:pos x="59" y="6"/>
              </a:cxn>
              <a:cxn ang="0">
                <a:pos x="51" y="5"/>
              </a:cxn>
              <a:cxn ang="0">
                <a:pos x="45" y="4"/>
              </a:cxn>
              <a:cxn ang="0">
                <a:pos x="37" y="5"/>
              </a:cxn>
              <a:cxn ang="0">
                <a:pos x="29" y="6"/>
              </a:cxn>
              <a:cxn ang="0">
                <a:pos x="22" y="6"/>
              </a:cxn>
              <a:cxn ang="0">
                <a:pos x="14" y="5"/>
              </a:cxn>
              <a:cxn ang="0">
                <a:pos x="7" y="4"/>
              </a:cxn>
              <a:cxn ang="0">
                <a:pos x="0" y="0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71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8645525" y="3913188"/>
            <a:ext cx="1588" cy="55562"/>
          </a:xfrm>
          <a:custGeom>
            <a:avLst/>
            <a:gdLst/>
            <a:ahLst/>
            <a:cxnLst>
              <a:cxn ang="0">
                <a:pos x="4" y="19"/>
              </a:cxn>
              <a:cxn ang="0">
                <a:pos x="4" y="0"/>
              </a:cxn>
              <a:cxn ang="0">
                <a:pos x="2" y="1"/>
              </a:cxn>
              <a:cxn ang="0">
                <a:pos x="1" y="3"/>
              </a:cxn>
              <a:cxn ang="0">
                <a:pos x="0" y="6"/>
              </a:cxn>
              <a:cxn ang="0">
                <a:pos x="0" y="10"/>
              </a:cxn>
              <a:cxn ang="0">
                <a:pos x="0" y="14"/>
              </a:cxn>
              <a:cxn ang="0">
                <a:pos x="1" y="16"/>
              </a:cxn>
              <a:cxn ang="0">
                <a:pos x="2" y="19"/>
              </a:cxn>
              <a:cxn ang="0">
                <a:pos x="4" y="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72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8220075" y="3727450"/>
            <a:ext cx="20638" cy="58738"/>
          </a:xfrm>
          <a:custGeom>
            <a:avLst/>
            <a:gdLst/>
            <a:ahLst/>
            <a:cxnLst>
              <a:cxn ang="0">
                <a:pos x="0" y="50"/>
              </a:cxn>
              <a:cxn ang="0">
                <a:pos x="7" y="0"/>
              </a:cxn>
              <a:cxn ang="0">
                <a:pos x="23" y="8"/>
              </a:cxn>
              <a:cxn ang="0">
                <a:pos x="34" y="14"/>
              </a:cxn>
              <a:cxn ang="0">
                <a:pos x="37" y="18"/>
              </a:cxn>
              <a:cxn ang="0">
                <a:pos x="41" y="22"/>
              </a:cxn>
              <a:cxn ang="0">
                <a:pos x="44" y="30"/>
              </a:cxn>
              <a:cxn ang="0">
                <a:pos x="46" y="38"/>
              </a:cxn>
              <a:cxn ang="0">
                <a:pos x="34" y="42"/>
              </a:cxn>
              <a:cxn ang="0">
                <a:pos x="21" y="46"/>
              </a:cxn>
              <a:cxn ang="0">
                <a:pos x="8" y="49"/>
              </a:cxn>
              <a:cxn ang="0">
                <a:pos x="0" y="50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73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8166101" y="3700464"/>
            <a:ext cx="30163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0" y="0"/>
              </a:cxn>
              <a:cxn ang="0">
                <a:pos x="18" y="0"/>
              </a:cxn>
              <a:cxn ang="0">
                <a:pos x="26" y="0"/>
              </a:cxn>
              <a:cxn ang="0">
                <a:pos x="33" y="0"/>
              </a:cxn>
              <a:cxn ang="0">
                <a:pos x="33" y="7"/>
              </a:cxn>
              <a:cxn ang="0">
                <a:pos x="34" y="14"/>
              </a:cxn>
              <a:cxn ang="0">
                <a:pos x="36" y="21"/>
              </a:cxn>
              <a:cxn ang="0">
                <a:pos x="38" y="27"/>
              </a:cxn>
              <a:cxn ang="0">
                <a:pos x="44" y="36"/>
              </a:cxn>
              <a:cxn ang="0">
                <a:pos x="49" y="45"/>
              </a:cxn>
              <a:cxn ang="0">
                <a:pos x="56" y="52"/>
              </a:cxn>
              <a:cxn ang="0">
                <a:pos x="61" y="60"/>
              </a:cxn>
              <a:cxn ang="0">
                <a:pos x="62" y="65"/>
              </a:cxn>
              <a:cxn ang="0">
                <a:pos x="65" y="69"/>
              </a:cxn>
              <a:cxn ang="0">
                <a:pos x="66" y="75"/>
              </a:cxn>
              <a:cxn ang="0">
                <a:pos x="66" y="80"/>
              </a:cxn>
              <a:cxn ang="0">
                <a:pos x="0" y="18"/>
              </a:cxn>
              <a:cxn ang="0">
                <a:pos x="0" y="0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74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8001000" y="3684588"/>
            <a:ext cx="7938" cy="57150"/>
          </a:xfrm>
          <a:custGeom>
            <a:avLst/>
            <a:gdLst/>
            <a:ahLst/>
            <a:cxnLst>
              <a:cxn ang="0">
                <a:pos x="20" y="48"/>
              </a:cxn>
              <a:cxn ang="0">
                <a:pos x="20" y="39"/>
              </a:cxn>
              <a:cxn ang="0">
                <a:pos x="19" y="32"/>
              </a:cxn>
              <a:cxn ang="0">
                <a:pos x="16" y="25"/>
              </a:cxn>
              <a:cxn ang="0">
                <a:pos x="14" y="19"/>
              </a:cxn>
              <a:cxn ang="0">
                <a:pos x="12" y="14"/>
              </a:cxn>
              <a:cxn ang="0">
                <a:pos x="9" y="9"/>
              </a:cxn>
              <a:cxn ang="0">
                <a:pos x="4" y="4"/>
              </a:cxn>
              <a:cxn ang="0">
                <a:pos x="0" y="0"/>
              </a:cxn>
              <a:cxn ang="0">
                <a:pos x="0" y="8"/>
              </a:cxn>
              <a:cxn ang="0">
                <a:pos x="2" y="17"/>
              </a:cxn>
              <a:cxn ang="0">
                <a:pos x="4" y="24"/>
              </a:cxn>
              <a:cxn ang="0">
                <a:pos x="8" y="31"/>
              </a:cxn>
              <a:cxn ang="0">
                <a:pos x="14" y="41"/>
              </a:cxn>
              <a:cxn ang="0">
                <a:pos x="20" y="48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75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8026401" y="3721100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76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8023225" y="3721100"/>
            <a:ext cx="7938" cy="57150"/>
          </a:xfrm>
          <a:custGeom>
            <a:avLst/>
            <a:gdLst/>
            <a:ahLst/>
            <a:cxnLst>
              <a:cxn ang="0">
                <a:pos x="20" y="12"/>
              </a:cxn>
              <a:cxn ang="0">
                <a:pos x="20" y="8"/>
              </a:cxn>
              <a:cxn ang="0">
                <a:pos x="18" y="5"/>
              </a:cxn>
              <a:cxn ang="0">
                <a:pos x="15" y="3"/>
              </a:cxn>
              <a:cxn ang="0">
                <a:pos x="13" y="2"/>
              </a:cxn>
              <a:cxn ang="0">
                <a:pos x="7" y="0"/>
              </a:cxn>
              <a:cxn ang="0">
                <a:pos x="0" y="0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77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7924801" y="3565525"/>
            <a:ext cx="22225" cy="57150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11" y="4"/>
              </a:cxn>
              <a:cxn ang="0">
                <a:pos x="23" y="13"/>
              </a:cxn>
              <a:cxn ang="0">
                <a:pos x="37" y="23"/>
              </a:cxn>
              <a:cxn ang="0">
                <a:pos x="46" y="30"/>
              </a:cxn>
              <a:cxn ang="0">
                <a:pos x="49" y="18"/>
              </a:cxn>
              <a:cxn ang="0">
                <a:pos x="53" y="6"/>
              </a:cxn>
              <a:cxn ang="0">
                <a:pos x="37" y="5"/>
              </a:cxn>
              <a:cxn ang="0">
                <a:pos x="26" y="3"/>
              </a:cxn>
              <a:cxn ang="0">
                <a:pos x="21" y="3"/>
              </a:cxn>
              <a:cxn ang="0">
                <a:pos x="15" y="3"/>
              </a:cxn>
              <a:cxn ang="0">
                <a:pos x="9" y="4"/>
              </a:cxn>
              <a:cxn ang="0">
                <a:pos x="0" y="6"/>
              </a:cxn>
              <a:cxn ang="0">
                <a:pos x="7" y="0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78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8453438" y="3929063"/>
            <a:ext cx="11112" cy="57150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4" y="21"/>
              </a:cxn>
              <a:cxn ang="0">
                <a:pos x="7" y="31"/>
              </a:cxn>
              <a:cxn ang="0">
                <a:pos x="22" y="31"/>
              </a:cxn>
              <a:cxn ang="0">
                <a:pos x="33" y="31"/>
              </a:cxn>
              <a:cxn ang="0">
                <a:pos x="33" y="0"/>
              </a:cxn>
              <a:cxn ang="0">
                <a:pos x="27" y="0"/>
              </a:cxn>
              <a:cxn ang="0">
                <a:pos x="19" y="0"/>
              </a:cxn>
              <a:cxn ang="0">
                <a:pos x="10" y="0"/>
              </a:cxn>
              <a:cxn ang="0">
                <a:pos x="0" y="0"/>
              </a:cxn>
              <a:cxn ang="0">
                <a:pos x="0" y="6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79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8969376" y="3886201"/>
            <a:ext cx="28575" cy="55563"/>
          </a:xfrm>
          <a:custGeom>
            <a:avLst/>
            <a:gdLst/>
            <a:ahLst/>
            <a:cxnLst>
              <a:cxn ang="0">
                <a:pos x="19" y="68"/>
              </a:cxn>
              <a:cxn ang="0">
                <a:pos x="16" y="68"/>
              </a:cxn>
              <a:cxn ang="0">
                <a:pos x="14" y="66"/>
              </a:cxn>
              <a:cxn ang="0">
                <a:pos x="11" y="64"/>
              </a:cxn>
              <a:cxn ang="0">
                <a:pos x="7" y="61"/>
              </a:cxn>
              <a:cxn ang="0">
                <a:pos x="4" y="59"/>
              </a:cxn>
              <a:cxn ang="0">
                <a:pos x="2" y="55"/>
              </a:cxn>
              <a:cxn ang="0">
                <a:pos x="0" y="52"/>
              </a:cxn>
              <a:cxn ang="0">
                <a:pos x="0" y="49"/>
              </a:cxn>
              <a:cxn ang="0">
                <a:pos x="0" y="38"/>
              </a:cxn>
              <a:cxn ang="0">
                <a:pos x="2" y="29"/>
              </a:cxn>
              <a:cxn ang="0">
                <a:pos x="5" y="21"/>
              </a:cxn>
              <a:cxn ang="0">
                <a:pos x="9" y="14"/>
              </a:cxn>
              <a:cxn ang="0">
                <a:pos x="15" y="8"/>
              </a:cxn>
              <a:cxn ang="0">
                <a:pos x="22" y="4"/>
              </a:cxn>
              <a:cxn ang="0">
                <a:pos x="30" y="2"/>
              </a:cxn>
              <a:cxn ang="0">
                <a:pos x="39" y="0"/>
              </a:cxn>
              <a:cxn ang="0">
                <a:pos x="52" y="0"/>
              </a:cxn>
              <a:cxn ang="0">
                <a:pos x="65" y="0"/>
              </a:cxn>
              <a:cxn ang="0">
                <a:pos x="65" y="43"/>
              </a:cxn>
              <a:cxn ang="0">
                <a:pos x="56" y="52"/>
              </a:cxn>
              <a:cxn ang="0">
                <a:pos x="45" y="61"/>
              </a:cxn>
              <a:cxn ang="0">
                <a:pos x="39" y="64"/>
              </a:cxn>
              <a:cxn ang="0">
                <a:pos x="34" y="66"/>
              </a:cxn>
              <a:cxn ang="0">
                <a:pos x="27" y="68"/>
              </a:cxn>
              <a:cxn ang="0">
                <a:pos x="19" y="68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80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7907339" y="3468688"/>
            <a:ext cx="274637" cy="368300"/>
          </a:xfrm>
          <a:custGeom>
            <a:avLst/>
            <a:gdLst/>
            <a:ahLst/>
            <a:cxnLst>
              <a:cxn ang="0">
                <a:pos x="502" y="337"/>
              </a:cxn>
              <a:cxn ang="0">
                <a:pos x="484" y="341"/>
              </a:cxn>
              <a:cxn ang="0">
                <a:pos x="479" y="382"/>
              </a:cxn>
              <a:cxn ang="0">
                <a:pos x="515" y="404"/>
              </a:cxn>
              <a:cxn ang="0">
                <a:pos x="534" y="405"/>
              </a:cxn>
              <a:cxn ang="0">
                <a:pos x="550" y="424"/>
              </a:cxn>
              <a:cxn ang="0">
                <a:pos x="560" y="459"/>
              </a:cxn>
              <a:cxn ang="0">
                <a:pos x="572" y="474"/>
              </a:cxn>
              <a:cxn ang="0">
                <a:pos x="588" y="483"/>
              </a:cxn>
              <a:cxn ang="0">
                <a:pos x="614" y="487"/>
              </a:cxn>
              <a:cxn ang="0">
                <a:pos x="625" y="505"/>
              </a:cxn>
              <a:cxn ang="0">
                <a:pos x="625" y="539"/>
              </a:cxn>
              <a:cxn ang="0">
                <a:pos x="618" y="603"/>
              </a:cxn>
              <a:cxn ang="0">
                <a:pos x="611" y="672"/>
              </a:cxn>
              <a:cxn ang="0">
                <a:pos x="562" y="693"/>
              </a:cxn>
              <a:cxn ang="0">
                <a:pos x="539" y="693"/>
              </a:cxn>
              <a:cxn ang="0">
                <a:pos x="394" y="564"/>
              </a:cxn>
              <a:cxn ang="0">
                <a:pos x="397" y="552"/>
              </a:cxn>
              <a:cxn ang="0">
                <a:pos x="394" y="539"/>
              </a:cxn>
              <a:cxn ang="0">
                <a:pos x="338" y="488"/>
              </a:cxn>
              <a:cxn ang="0">
                <a:pos x="305" y="453"/>
              </a:cxn>
              <a:cxn ang="0">
                <a:pos x="293" y="419"/>
              </a:cxn>
              <a:cxn ang="0">
                <a:pos x="291" y="381"/>
              </a:cxn>
              <a:cxn ang="0">
                <a:pos x="285" y="360"/>
              </a:cxn>
              <a:cxn ang="0">
                <a:pos x="268" y="342"/>
              </a:cxn>
              <a:cxn ang="0">
                <a:pos x="241" y="310"/>
              </a:cxn>
              <a:cxn ang="0">
                <a:pos x="224" y="269"/>
              </a:cxn>
              <a:cxn ang="0">
                <a:pos x="213" y="238"/>
              </a:cxn>
              <a:cxn ang="0">
                <a:pos x="190" y="212"/>
              </a:cxn>
              <a:cxn ang="0">
                <a:pos x="150" y="171"/>
              </a:cxn>
              <a:cxn ang="0">
                <a:pos x="136" y="146"/>
              </a:cxn>
              <a:cxn ang="0">
                <a:pos x="112" y="132"/>
              </a:cxn>
              <a:cxn ang="0">
                <a:pos x="80" y="113"/>
              </a:cxn>
              <a:cxn ang="0">
                <a:pos x="49" y="85"/>
              </a:cxn>
              <a:cxn ang="0">
                <a:pos x="23" y="51"/>
              </a:cxn>
              <a:cxn ang="0">
                <a:pos x="5" y="19"/>
              </a:cxn>
              <a:cxn ang="0">
                <a:pos x="10" y="4"/>
              </a:cxn>
              <a:cxn ang="0">
                <a:pos x="37" y="13"/>
              </a:cxn>
              <a:cxn ang="0">
                <a:pos x="84" y="16"/>
              </a:cxn>
              <a:cxn ang="0">
                <a:pos x="116" y="20"/>
              </a:cxn>
              <a:cxn ang="0">
                <a:pos x="138" y="27"/>
              </a:cxn>
              <a:cxn ang="0">
                <a:pos x="156" y="42"/>
              </a:cxn>
              <a:cxn ang="0">
                <a:pos x="204" y="109"/>
              </a:cxn>
              <a:cxn ang="0">
                <a:pos x="254" y="163"/>
              </a:cxn>
              <a:cxn ang="0">
                <a:pos x="299" y="202"/>
              </a:cxn>
              <a:cxn ang="0">
                <a:pos x="329" y="219"/>
              </a:cxn>
              <a:cxn ang="0">
                <a:pos x="366" y="227"/>
              </a:cxn>
              <a:cxn ang="0">
                <a:pos x="388" y="230"/>
              </a:cxn>
              <a:cxn ang="0">
                <a:pos x="401" y="241"/>
              </a:cxn>
              <a:cxn ang="0">
                <a:pos x="416" y="260"/>
              </a:cxn>
              <a:cxn ang="0">
                <a:pos x="427" y="265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81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8248650" y="3517901"/>
            <a:ext cx="254000" cy="257175"/>
          </a:xfrm>
          <a:custGeom>
            <a:avLst/>
            <a:gdLst/>
            <a:ahLst/>
            <a:cxnLst>
              <a:cxn ang="0">
                <a:pos x="516" y="28"/>
              </a:cxn>
              <a:cxn ang="0">
                <a:pos x="495" y="55"/>
              </a:cxn>
              <a:cxn ang="0">
                <a:pos x="512" y="93"/>
              </a:cxn>
              <a:cxn ang="0">
                <a:pos x="534" y="130"/>
              </a:cxn>
              <a:cxn ang="0">
                <a:pos x="573" y="177"/>
              </a:cxn>
              <a:cxn ang="0">
                <a:pos x="580" y="205"/>
              </a:cxn>
              <a:cxn ang="0">
                <a:pos x="547" y="204"/>
              </a:cxn>
              <a:cxn ang="0">
                <a:pos x="516" y="233"/>
              </a:cxn>
              <a:cxn ang="0">
                <a:pos x="506" y="246"/>
              </a:cxn>
              <a:cxn ang="0">
                <a:pos x="518" y="271"/>
              </a:cxn>
              <a:cxn ang="0">
                <a:pos x="525" y="294"/>
              </a:cxn>
              <a:cxn ang="0">
                <a:pos x="505" y="308"/>
              </a:cxn>
              <a:cxn ang="0">
                <a:pos x="459" y="323"/>
              </a:cxn>
              <a:cxn ang="0">
                <a:pos x="443" y="354"/>
              </a:cxn>
              <a:cxn ang="0">
                <a:pos x="445" y="415"/>
              </a:cxn>
              <a:cxn ang="0">
                <a:pos x="430" y="454"/>
              </a:cxn>
              <a:cxn ang="0">
                <a:pos x="400" y="472"/>
              </a:cxn>
              <a:cxn ang="0">
                <a:pos x="370" y="488"/>
              </a:cxn>
              <a:cxn ang="0">
                <a:pos x="341" y="493"/>
              </a:cxn>
              <a:cxn ang="0">
                <a:pos x="329" y="487"/>
              </a:cxn>
              <a:cxn ang="0">
                <a:pos x="327" y="471"/>
              </a:cxn>
              <a:cxn ang="0">
                <a:pos x="304" y="451"/>
              </a:cxn>
              <a:cxn ang="0">
                <a:pos x="251" y="454"/>
              </a:cxn>
              <a:cxn ang="0">
                <a:pos x="219" y="462"/>
              </a:cxn>
              <a:cxn ang="0">
                <a:pos x="176" y="440"/>
              </a:cxn>
              <a:cxn ang="0">
                <a:pos x="122" y="436"/>
              </a:cxn>
              <a:cxn ang="0">
                <a:pos x="95" y="429"/>
              </a:cxn>
              <a:cxn ang="0">
                <a:pos x="81" y="366"/>
              </a:cxn>
              <a:cxn ang="0">
                <a:pos x="58" y="310"/>
              </a:cxn>
              <a:cxn ang="0">
                <a:pos x="35" y="292"/>
              </a:cxn>
              <a:cxn ang="0">
                <a:pos x="12" y="260"/>
              </a:cxn>
              <a:cxn ang="0">
                <a:pos x="5" y="204"/>
              </a:cxn>
              <a:cxn ang="0">
                <a:pos x="31" y="153"/>
              </a:cxn>
              <a:cxn ang="0">
                <a:pos x="54" y="141"/>
              </a:cxn>
              <a:cxn ang="0">
                <a:pos x="75" y="152"/>
              </a:cxn>
              <a:cxn ang="0">
                <a:pos x="97" y="187"/>
              </a:cxn>
              <a:cxn ang="0">
                <a:pos x="129" y="214"/>
              </a:cxn>
              <a:cxn ang="0">
                <a:pos x="170" y="213"/>
              </a:cxn>
              <a:cxn ang="0">
                <a:pos x="221" y="189"/>
              </a:cxn>
              <a:cxn ang="0">
                <a:pos x="233" y="172"/>
              </a:cxn>
              <a:cxn ang="0">
                <a:pos x="288" y="178"/>
              </a:cxn>
              <a:cxn ang="0">
                <a:pos x="326" y="181"/>
              </a:cxn>
              <a:cxn ang="0">
                <a:pos x="337" y="170"/>
              </a:cxn>
              <a:cxn ang="0">
                <a:pos x="362" y="158"/>
              </a:cxn>
              <a:cxn ang="0">
                <a:pos x="383" y="136"/>
              </a:cxn>
              <a:cxn ang="0">
                <a:pos x="415" y="79"/>
              </a:cxn>
              <a:cxn ang="0">
                <a:pos x="427" y="25"/>
              </a:cxn>
              <a:cxn ang="0">
                <a:pos x="447" y="6"/>
              </a:cxn>
              <a:cxn ang="0">
                <a:pos x="479" y="2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82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8604251" y="3924300"/>
            <a:ext cx="92075" cy="57150"/>
          </a:xfrm>
          <a:custGeom>
            <a:avLst/>
            <a:gdLst/>
            <a:ahLst/>
            <a:cxnLst>
              <a:cxn ang="0">
                <a:pos x="0" y="105"/>
              </a:cxn>
              <a:cxn ang="0">
                <a:pos x="16" y="85"/>
              </a:cxn>
              <a:cxn ang="0">
                <a:pos x="35" y="68"/>
              </a:cxn>
              <a:cxn ang="0">
                <a:pos x="44" y="60"/>
              </a:cxn>
              <a:cxn ang="0">
                <a:pos x="54" y="53"/>
              </a:cxn>
              <a:cxn ang="0">
                <a:pos x="64" y="46"/>
              </a:cxn>
              <a:cxn ang="0">
                <a:pos x="73" y="38"/>
              </a:cxn>
              <a:cxn ang="0">
                <a:pos x="83" y="32"/>
              </a:cxn>
              <a:cxn ang="0">
                <a:pos x="94" y="27"/>
              </a:cxn>
              <a:cxn ang="0">
                <a:pos x="106" y="21"/>
              </a:cxn>
              <a:cxn ang="0">
                <a:pos x="118" y="16"/>
              </a:cxn>
              <a:cxn ang="0">
                <a:pos x="144" y="8"/>
              </a:cxn>
              <a:cxn ang="0">
                <a:pos x="172" y="0"/>
              </a:cxn>
              <a:cxn ang="0">
                <a:pos x="212" y="0"/>
              </a:cxn>
              <a:cxn ang="0">
                <a:pos x="202" y="9"/>
              </a:cxn>
              <a:cxn ang="0">
                <a:pos x="190" y="18"/>
              </a:cxn>
              <a:cxn ang="0">
                <a:pos x="178" y="27"/>
              </a:cxn>
              <a:cxn ang="0">
                <a:pos x="165" y="35"/>
              </a:cxn>
              <a:cxn ang="0">
                <a:pos x="137" y="52"/>
              </a:cxn>
              <a:cxn ang="0">
                <a:pos x="109" y="66"/>
              </a:cxn>
              <a:cxn ang="0">
                <a:pos x="79" y="79"/>
              </a:cxn>
              <a:cxn ang="0">
                <a:pos x="50" y="90"/>
              </a:cxn>
              <a:cxn ang="0">
                <a:pos x="23" y="99"/>
              </a:cxn>
              <a:cxn ang="0">
                <a:pos x="0" y="105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83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8720138" y="3590925"/>
            <a:ext cx="42862" cy="88900"/>
          </a:xfrm>
          <a:custGeom>
            <a:avLst/>
            <a:gdLst/>
            <a:ahLst/>
            <a:cxnLst>
              <a:cxn ang="0">
                <a:pos x="0" y="81"/>
              </a:cxn>
              <a:cxn ang="0">
                <a:pos x="0" y="148"/>
              </a:cxn>
              <a:cxn ang="0">
                <a:pos x="5" y="144"/>
              </a:cxn>
              <a:cxn ang="0">
                <a:pos x="12" y="139"/>
              </a:cxn>
              <a:cxn ang="0">
                <a:pos x="14" y="137"/>
              </a:cxn>
              <a:cxn ang="0">
                <a:pos x="17" y="135"/>
              </a:cxn>
              <a:cxn ang="0">
                <a:pos x="18" y="132"/>
              </a:cxn>
              <a:cxn ang="0">
                <a:pos x="19" y="130"/>
              </a:cxn>
              <a:cxn ang="0">
                <a:pos x="20" y="138"/>
              </a:cxn>
              <a:cxn ang="0">
                <a:pos x="24" y="148"/>
              </a:cxn>
              <a:cxn ang="0">
                <a:pos x="27" y="154"/>
              </a:cxn>
              <a:cxn ang="0">
                <a:pos x="30" y="159"/>
              </a:cxn>
              <a:cxn ang="0">
                <a:pos x="35" y="163"/>
              </a:cxn>
              <a:cxn ang="0">
                <a:pos x="39" y="166"/>
              </a:cxn>
              <a:cxn ang="0">
                <a:pos x="41" y="158"/>
              </a:cxn>
              <a:cxn ang="0">
                <a:pos x="41" y="148"/>
              </a:cxn>
              <a:cxn ang="0">
                <a:pos x="41" y="137"/>
              </a:cxn>
              <a:cxn ang="0">
                <a:pos x="41" y="126"/>
              </a:cxn>
              <a:cxn ang="0">
                <a:pos x="40" y="107"/>
              </a:cxn>
              <a:cxn ang="0">
                <a:pos x="39" y="99"/>
              </a:cxn>
              <a:cxn ang="0">
                <a:pos x="48" y="100"/>
              </a:cxn>
              <a:cxn ang="0">
                <a:pos x="57" y="102"/>
              </a:cxn>
              <a:cxn ang="0">
                <a:pos x="64" y="105"/>
              </a:cxn>
              <a:cxn ang="0">
                <a:pos x="71" y="108"/>
              </a:cxn>
              <a:cxn ang="0">
                <a:pos x="76" y="111"/>
              </a:cxn>
              <a:cxn ang="0">
                <a:pos x="82" y="114"/>
              </a:cxn>
              <a:cxn ang="0">
                <a:pos x="87" y="116"/>
              </a:cxn>
              <a:cxn ang="0">
                <a:pos x="92" y="118"/>
              </a:cxn>
              <a:cxn ang="0">
                <a:pos x="85" y="103"/>
              </a:cxn>
              <a:cxn ang="0">
                <a:pos x="81" y="89"/>
              </a:cxn>
              <a:cxn ang="0">
                <a:pos x="76" y="75"/>
              </a:cxn>
              <a:cxn ang="0">
                <a:pos x="73" y="60"/>
              </a:cxn>
              <a:cxn ang="0">
                <a:pos x="70" y="47"/>
              </a:cxn>
              <a:cxn ang="0">
                <a:pos x="67" y="34"/>
              </a:cxn>
              <a:cxn ang="0">
                <a:pos x="63" y="23"/>
              </a:cxn>
              <a:cxn ang="0">
                <a:pos x="59" y="13"/>
              </a:cxn>
              <a:cxn ang="0">
                <a:pos x="59" y="19"/>
              </a:cxn>
              <a:cxn ang="0">
                <a:pos x="59" y="25"/>
              </a:cxn>
              <a:cxn ang="0">
                <a:pos x="50" y="23"/>
              </a:cxn>
              <a:cxn ang="0">
                <a:pos x="42" y="19"/>
              </a:cxn>
              <a:cxn ang="0">
                <a:pos x="35" y="15"/>
              </a:cxn>
              <a:cxn ang="0">
                <a:pos x="29" y="11"/>
              </a:cxn>
              <a:cxn ang="0">
                <a:pos x="23" y="7"/>
              </a:cxn>
              <a:cxn ang="0">
                <a:pos x="16" y="3"/>
              </a:cxn>
              <a:cxn ang="0">
                <a:pos x="8" y="1"/>
              </a:cxn>
              <a:cxn ang="0">
                <a:pos x="0" y="0"/>
              </a:cxn>
              <a:cxn ang="0">
                <a:pos x="0" y="10"/>
              </a:cxn>
              <a:cxn ang="0">
                <a:pos x="0" y="19"/>
              </a:cxn>
              <a:cxn ang="0">
                <a:pos x="0" y="33"/>
              </a:cxn>
              <a:cxn ang="0">
                <a:pos x="0" y="52"/>
              </a:cxn>
              <a:cxn ang="0">
                <a:pos x="0" y="70"/>
              </a:cxn>
              <a:cxn ang="0">
                <a:pos x="0" y="81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84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8732839" y="3735388"/>
            <a:ext cx="71437" cy="55562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14" y="3"/>
              </a:cxn>
              <a:cxn ang="0">
                <a:pos x="22" y="6"/>
              </a:cxn>
              <a:cxn ang="0">
                <a:pos x="30" y="7"/>
              </a:cxn>
              <a:cxn ang="0">
                <a:pos x="36" y="8"/>
              </a:cxn>
              <a:cxn ang="0">
                <a:pos x="48" y="8"/>
              </a:cxn>
              <a:cxn ang="0">
                <a:pos x="58" y="7"/>
              </a:cxn>
              <a:cxn ang="0">
                <a:pos x="69" y="5"/>
              </a:cxn>
              <a:cxn ang="0">
                <a:pos x="80" y="3"/>
              </a:cxn>
              <a:cxn ang="0">
                <a:pos x="92" y="1"/>
              </a:cxn>
              <a:cxn ang="0">
                <a:pos x="106" y="0"/>
              </a:cxn>
              <a:cxn ang="0">
                <a:pos x="111" y="1"/>
              </a:cxn>
              <a:cxn ang="0">
                <a:pos x="115" y="2"/>
              </a:cxn>
              <a:cxn ang="0">
                <a:pos x="120" y="5"/>
              </a:cxn>
              <a:cxn ang="0">
                <a:pos x="124" y="8"/>
              </a:cxn>
              <a:cxn ang="0">
                <a:pos x="132" y="17"/>
              </a:cxn>
              <a:cxn ang="0">
                <a:pos x="138" y="26"/>
              </a:cxn>
              <a:cxn ang="0">
                <a:pos x="145" y="36"/>
              </a:cxn>
              <a:cxn ang="0">
                <a:pos x="151" y="45"/>
              </a:cxn>
              <a:cxn ang="0">
                <a:pos x="155" y="49"/>
              </a:cxn>
              <a:cxn ang="0">
                <a:pos x="158" y="52"/>
              </a:cxn>
              <a:cxn ang="0">
                <a:pos x="162" y="54"/>
              </a:cxn>
              <a:cxn ang="0">
                <a:pos x="166" y="56"/>
              </a:cxn>
              <a:cxn ang="0">
                <a:pos x="159" y="57"/>
              </a:cxn>
              <a:cxn ang="0">
                <a:pos x="151" y="59"/>
              </a:cxn>
              <a:cxn ang="0">
                <a:pos x="143" y="61"/>
              </a:cxn>
              <a:cxn ang="0">
                <a:pos x="133" y="62"/>
              </a:cxn>
              <a:cxn ang="0">
                <a:pos x="125" y="61"/>
              </a:cxn>
              <a:cxn ang="0">
                <a:pos x="119" y="58"/>
              </a:cxn>
              <a:cxn ang="0">
                <a:pos x="112" y="54"/>
              </a:cxn>
              <a:cxn ang="0">
                <a:pos x="106" y="50"/>
              </a:cxn>
              <a:cxn ang="0">
                <a:pos x="100" y="45"/>
              </a:cxn>
              <a:cxn ang="0">
                <a:pos x="93" y="41"/>
              </a:cxn>
              <a:cxn ang="0">
                <a:pos x="87" y="39"/>
              </a:cxn>
              <a:cxn ang="0">
                <a:pos x="79" y="38"/>
              </a:cxn>
              <a:cxn ang="0">
                <a:pos x="56" y="38"/>
              </a:cxn>
              <a:cxn ang="0">
                <a:pos x="35" y="39"/>
              </a:cxn>
              <a:cxn ang="0">
                <a:pos x="26" y="41"/>
              </a:cxn>
              <a:cxn ang="0">
                <a:pos x="19" y="43"/>
              </a:cxn>
              <a:cxn ang="0">
                <a:pos x="12" y="46"/>
              </a:cxn>
              <a:cxn ang="0">
                <a:pos x="7" y="50"/>
              </a:cxn>
              <a:cxn ang="0">
                <a:pos x="2" y="45"/>
              </a:cxn>
              <a:cxn ang="0">
                <a:pos x="1" y="40"/>
              </a:cxn>
              <a:cxn ang="0">
                <a:pos x="0" y="34"/>
              </a:cxn>
              <a:cxn ang="0">
                <a:pos x="1" y="28"/>
              </a:cxn>
              <a:cxn ang="0">
                <a:pos x="4" y="15"/>
              </a:cxn>
              <a:cxn ang="0">
                <a:pos x="7" y="0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85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8809039" y="3659188"/>
            <a:ext cx="85725" cy="63500"/>
          </a:xfrm>
          <a:custGeom>
            <a:avLst/>
            <a:gdLst/>
            <a:ahLst/>
            <a:cxnLst>
              <a:cxn ang="0">
                <a:pos x="33" y="35"/>
              </a:cxn>
              <a:cxn ang="0">
                <a:pos x="48" y="25"/>
              </a:cxn>
              <a:cxn ang="0">
                <a:pos x="68" y="12"/>
              </a:cxn>
              <a:cxn ang="0">
                <a:pos x="84" y="4"/>
              </a:cxn>
              <a:cxn ang="0">
                <a:pos x="94" y="1"/>
              </a:cxn>
              <a:cxn ang="0">
                <a:pos x="105" y="1"/>
              </a:cxn>
              <a:cxn ang="0">
                <a:pos x="116" y="3"/>
              </a:cxn>
              <a:cxn ang="0">
                <a:pos x="131" y="10"/>
              </a:cxn>
              <a:cxn ang="0">
                <a:pos x="148" y="21"/>
              </a:cxn>
              <a:cxn ang="0">
                <a:pos x="162" y="28"/>
              </a:cxn>
              <a:cxn ang="0">
                <a:pos x="173" y="30"/>
              </a:cxn>
              <a:cxn ang="0">
                <a:pos x="179" y="48"/>
              </a:cxn>
              <a:cxn ang="0">
                <a:pos x="178" y="66"/>
              </a:cxn>
              <a:cxn ang="0">
                <a:pos x="182" y="75"/>
              </a:cxn>
              <a:cxn ang="0">
                <a:pos x="187" y="89"/>
              </a:cxn>
              <a:cxn ang="0">
                <a:pos x="188" y="102"/>
              </a:cxn>
              <a:cxn ang="0">
                <a:pos x="191" y="109"/>
              </a:cxn>
              <a:cxn ang="0">
                <a:pos x="188" y="114"/>
              </a:cxn>
              <a:cxn ang="0">
                <a:pos x="177" y="118"/>
              </a:cxn>
              <a:cxn ang="0">
                <a:pos x="159" y="121"/>
              </a:cxn>
              <a:cxn ang="0">
                <a:pos x="116" y="119"/>
              </a:cxn>
              <a:cxn ang="0">
                <a:pos x="72" y="116"/>
              </a:cxn>
              <a:cxn ang="0">
                <a:pos x="63" y="110"/>
              </a:cxn>
              <a:cxn ang="0">
                <a:pos x="56" y="100"/>
              </a:cxn>
              <a:cxn ang="0">
                <a:pos x="54" y="87"/>
              </a:cxn>
              <a:cxn ang="0">
                <a:pos x="47" y="79"/>
              </a:cxn>
              <a:cxn ang="0">
                <a:pos x="31" y="75"/>
              </a:cxn>
              <a:cxn ang="0">
                <a:pos x="13" y="69"/>
              </a:cxn>
              <a:cxn ang="0">
                <a:pos x="3" y="62"/>
              </a:cxn>
              <a:cxn ang="0">
                <a:pos x="0" y="58"/>
              </a:cxn>
              <a:cxn ang="0">
                <a:pos x="1" y="51"/>
              </a:cxn>
              <a:cxn ang="0">
                <a:pos x="7" y="45"/>
              </a:cxn>
              <a:cxn ang="0">
                <a:pos x="20" y="38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86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8497889" y="3597275"/>
            <a:ext cx="166687" cy="230188"/>
          </a:xfrm>
          <a:custGeom>
            <a:avLst/>
            <a:gdLst/>
            <a:ahLst/>
            <a:cxnLst>
              <a:cxn ang="0">
                <a:pos x="37" y="419"/>
              </a:cxn>
              <a:cxn ang="0">
                <a:pos x="46" y="407"/>
              </a:cxn>
              <a:cxn ang="0">
                <a:pos x="24" y="311"/>
              </a:cxn>
              <a:cxn ang="0">
                <a:pos x="2" y="294"/>
              </a:cxn>
              <a:cxn ang="0">
                <a:pos x="15" y="270"/>
              </a:cxn>
              <a:cxn ang="0">
                <a:pos x="31" y="221"/>
              </a:cxn>
              <a:cxn ang="0">
                <a:pos x="39" y="172"/>
              </a:cxn>
              <a:cxn ang="0">
                <a:pos x="57" y="159"/>
              </a:cxn>
              <a:cxn ang="0">
                <a:pos x="65" y="130"/>
              </a:cxn>
              <a:cxn ang="0">
                <a:pos x="76" y="78"/>
              </a:cxn>
              <a:cxn ang="0">
                <a:pos x="90" y="51"/>
              </a:cxn>
              <a:cxn ang="0">
                <a:pos x="115" y="31"/>
              </a:cxn>
              <a:cxn ang="0">
                <a:pos x="153" y="25"/>
              </a:cxn>
              <a:cxn ang="0">
                <a:pos x="217" y="38"/>
              </a:cxn>
              <a:cxn ang="0">
                <a:pos x="262" y="48"/>
              </a:cxn>
              <a:cxn ang="0">
                <a:pos x="303" y="45"/>
              </a:cxn>
              <a:cxn ang="0">
                <a:pos x="329" y="31"/>
              </a:cxn>
              <a:cxn ang="0">
                <a:pos x="356" y="7"/>
              </a:cxn>
              <a:cxn ang="0">
                <a:pos x="374" y="9"/>
              </a:cxn>
              <a:cxn ang="0">
                <a:pos x="372" y="35"/>
              </a:cxn>
              <a:cxn ang="0">
                <a:pos x="329" y="80"/>
              </a:cxn>
              <a:cxn ang="0">
                <a:pos x="292" y="97"/>
              </a:cxn>
              <a:cxn ang="0">
                <a:pos x="271" y="94"/>
              </a:cxn>
              <a:cxn ang="0">
                <a:pos x="238" y="69"/>
              </a:cxn>
              <a:cxn ang="0">
                <a:pos x="212" y="56"/>
              </a:cxn>
              <a:cxn ang="0">
                <a:pos x="177" y="56"/>
              </a:cxn>
              <a:cxn ang="0">
                <a:pos x="138" y="61"/>
              </a:cxn>
              <a:cxn ang="0">
                <a:pos x="114" y="79"/>
              </a:cxn>
              <a:cxn ang="0">
                <a:pos x="79" y="161"/>
              </a:cxn>
              <a:cxn ang="0">
                <a:pos x="119" y="169"/>
              </a:cxn>
              <a:cxn ang="0">
                <a:pos x="133" y="191"/>
              </a:cxn>
              <a:cxn ang="0">
                <a:pos x="155" y="168"/>
              </a:cxn>
              <a:cxn ang="0">
                <a:pos x="172" y="153"/>
              </a:cxn>
              <a:cxn ang="0">
                <a:pos x="221" y="150"/>
              </a:cxn>
              <a:cxn ang="0">
                <a:pos x="250" y="147"/>
              </a:cxn>
              <a:cxn ang="0">
                <a:pos x="273" y="173"/>
              </a:cxn>
              <a:cxn ang="0">
                <a:pos x="279" y="203"/>
              </a:cxn>
              <a:cxn ang="0">
                <a:pos x="246" y="192"/>
              </a:cxn>
              <a:cxn ang="0">
                <a:pos x="218" y="185"/>
              </a:cxn>
              <a:cxn ang="0">
                <a:pos x="192" y="195"/>
              </a:cxn>
              <a:cxn ang="0">
                <a:pos x="186" y="209"/>
              </a:cxn>
              <a:cxn ang="0">
                <a:pos x="192" y="233"/>
              </a:cxn>
              <a:cxn ang="0">
                <a:pos x="220" y="272"/>
              </a:cxn>
              <a:cxn ang="0">
                <a:pos x="225" y="296"/>
              </a:cxn>
              <a:cxn ang="0">
                <a:pos x="215" y="322"/>
              </a:cxn>
              <a:cxn ang="0">
                <a:pos x="205" y="345"/>
              </a:cxn>
              <a:cxn ang="0">
                <a:pos x="210" y="356"/>
              </a:cxn>
              <a:cxn ang="0">
                <a:pos x="236" y="368"/>
              </a:cxn>
              <a:cxn ang="0">
                <a:pos x="252" y="400"/>
              </a:cxn>
              <a:cxn ang="0">
                <a:pos x="239" y="429"/>
              </a:cxn>
              <a:cxn ang="0">
                <a:pos x="221" y="421"/>
              </a:cxn>
              <a:cxn ang="0">
                <a:pos x="202" y="417"/>
              </a:cxn>
              <a:cxn ang="0">
                <a:pos x="177" y="400"/>
              </a:cxn>
              <a:cxn ang="0">
                <a:pos x="153" y="356"/>
              </a:cxn>
              <a:cxn ang="0">
                <a:pos x="137" y="304"/>
              </a:cxn>
              <a:cxn ang="0">
                <a:pos x="114" y="263"/>
              </a:cxn>
              <a:cxn ang="0">
                <a:pos x="97" y="259"/>
              </a:cxn>
              <a:cxn ang="0">
                <a:pos x="105" y="381"/>
              </a:cxn>
              <a:cxn ang="0">
                <a:pos x="93" y="404"/>
              </a:cxn>
              <a:cxn ang="0">
                <a:pos x="57" y="426"/>
              </a:cxn>
              <a:cxn ang="0">
                <a:pos x="59" y="437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87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8162926" y="3838575"/>
            <a:ext cx="250825" cy="95250"/>
          </a:xfrm>
          <a:custGeom>
            <a:avLst/>
            <a:gdLst/>
            <a:ahLst/>
            <a:cxnLst>
              <a:cxn ang="0">
                <a:pos x="11" y="50"/>
              </a:cxn>
              <a:cxn ang="0">
                <a:pos x="24" y="32"/>
              </a:cxn>
              <a:cxn ang="0">
                <a:pos x="41" y="7"/>
              </a:cxn>
              <a:cxn ang="0">
                <a:pos x="54" y="0"/>
              </a:cxn>
              <a:cxn ang="0">
                <a:pos x="79" y="2"/>
              </a:cxn>
              <a:cxn ang="0">
                <a:pos x="95" y="2"/>
              </a:cxn>
              <a:cxn ang="0">
                <a:pos x="101" y="5"/>
              </a:cxn>
              <a:cxn ang="0">
                <a:pos x="115" y="15"/>
              </a:cxn>
              <a:cxn ang="0">
                <a:pos x="147" y="27"/>
              </a:cxn>
              <a:cxn ang="0">
                <a:pos x="168" y="37"/>
              </a:cxn>
              <a:cxn ang="0">
                <a:pos x="178" y="53"/>
              </a:cxn>
              <a:cxn ang="0">
                <a:pos x="192" y="61"/>
              </a:cxn>
              <a:cxn ang="0">
                <a:pos x="231" y="60"/>
              </a:cxn>
              <a:cxn ang="0">
                <a:pos x="277" y="51"/>
              </a:cxn>
              <a:cxn ang="0">
                <a:pos x="299" y="39"/>
              </a:cxn>
              <a:cxn ang="0">
                <a:pos x="314" y="34"/>
              </a:cxn>
              <a:cxn ang="0">
                <a:pos x="327" y="35"/>
              </a:cxn>
              <a:cxn ang="0">
                <a:pos x="339" y="31"/>
              </a:cxn>
              <a:cxn ang="0">
                <a:pos x="366" y="34"/>
              </a:cxn>
              <a:cxn ang="0">
                <a:pos x="399" y="59"/>
              </a:cxn>
              <a:cxn ang="0">
                <a:pos x="428" y="89"/>
              </a:cxn>
              <a:cxn ang="0">
                <a:pos x="456" y="105"/>
              </a:cxn>
              <a:cxn ang="0">
                <a:pos x="479" y="107"/>
              </a:cxn>
              <a:cxn ang="0">
                <a:pos x="493" y="108"/>
              </a:cxn>
              <a:cxn ang="0">
                <a:pos x="505" y="125"/>
              </a:cxn>
              <a:cxn ang="0">
                <a:pos x="522" y="140"/>
              </a:cxn>
              <a:cxn ang="0">
                <a:pos x="534" y="139"/>
              </a:cxn>
              <a:cxn ang="0">
                <a:pos x="546" y="128"/>
              </a:cxn>
              <a:cxn ang="0">
                <a:pos x="558" y="134"/>
              </a:cxn>
              <a:cxn ang="0">
                <a:pos x="571" y="145"/>
              </a:cxn>
              <a:cxn ang="0">
                <a:pos x="578" y="160"/>
              </a:cxn>
              <a:cxn ang="0">
                <a:pos x="575" y="173"/>
              </a:cxn>
              <a:cxn ang="0">
                <a:pos x="567" y="182"/>
              </a:cxn>
              <a:cxn ang="0">
                <a:pos x="551" y="178"/>
              </a:cxn>
              <a:cxn ang="0">
                <a:pos x="526" y="170"/>
              </a:cxn>
              <a:cxn ang="0">
                <a:pos x="491" y="172"/>
              </a:cxn>
              <a:cxn ang="0">
                <a:pos x="462" y="170"/>
              </a:cxn>
              <a:cxn ang="0">
                <a:pos x="451" y="160"/>
              </a:cxn>
              <a:cxn ang="0">
                <a:pos x="438" y="154"/>
              </a:cxn>
              <a:cxn ang="0">
                <a:pos x="426" y="160"/>
              </a:cxn>
              <a:cxn ang="0">
                <a:pos x="416" y="170"/>
              </a:cxn>
              <a:cxn ang="0">
                <a:pos x="398" y="171"/>
              </a:cxn>
              <a:cxn ang="0">
                <a:pos x="328" y="153"/>
              </a:cxn>
              <a:cxn ang="0">
                <a:pos x="277" y="132"/>
              </a:cxn>
              <a:cxn ang="0">
                <a:pos x="266" y="123"/>
              </a:cxn>
              <a:cxn ang="0">
                <a:pos x="230" y="119"/>
              </a:cxn>
              <a:cxn ang="0">
                <a:pos x="201" y="113"/>
              </a:cxn>
              <a:cxn ang="0">
                <a:pos x="168" y="111"/>
              </a:cxn>
              <a:cxn ang="0">
                <a:pos x="146" y="111"/>
              </a:cxn>
              <a:cxn ang="0">
                <a:pos x="124" y="105"/>
              </a:cxn>
              <a:cxn ang="0">
                <a:pos x="120" y="99"/>
              </a:cxn>
              <a:cxn ang="0">
                <a:pos x="69" y="97"/>
              </a:cxn>
              <a:cxn ang="0">
                <a:pos x="46" y="88"/>
              </a:cxn>
              <a:cxn ang="0">
                <a:pos x="0" y="55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88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8843963" y="3695701"/>
            <a:ext cx="214312" cy="252413"/>
          </a:xfrm>
          <a:custGeom>
            <a:avLst/>
            <a:gdLst/>
            <a:ahLst/>
            <a:cxnLst>
              <a:cxn ang="0">
                <a:pos x="482" y="479"/>
              </a:cxn>
              <a:cxn ang="0">
                <a:pos x="457" y="465"/>
              </a:cxn>
              <a:cxn ang="0">
                <a:pos x="422" y="434"/>
              </a:cxn>
              <a:cxn ang="0">
                <a:pos x="412" y="417"/>
              </a:cxn>
              <a:cxn ang="0">
                <a:pos x="376" y="410"/>
              </a:cxn>
              <a:cxn ang="0">
                <a:pos x="360" y="406"/>
              </a:cxn>
              <a:cxn ang="0">
                <a:pos x="350" y="396"/>
              </a:cxn>
              <a:cxn ang="0">
                <a:pos x="346" y="374"/>
              </a:cxn>
              <a:cxn ang="0">
                <a:pos x="342" y="332"/>
              </a:cxn>
              <a:cxn ang="0">
                <a:pos x="327" y="303"/>
              </a:cxn>
              <a:cxn ang="0">
                <a:pos x="319" y="277"/>
              </a:cxn>
              <a:cxn ang="0">
                <a:pos x="314" y="244"/>
              </a:cxn>
              <a:cxn ang="0">
                <a:pos x="292" y="223"/>
              </a:cxn>
              <a:cxn ang="0">
                <a:pos x="260" y="205"/>
              </a:cxn>
              <a:cxn ang="0">
                <a:pos x="221" y="190"/>
              </a:cxn>
              <a:cxn ang="0">
                <a:pos x="178" y="181"/>
              </a:cxn>
              <a:cxn ang="0">
                <a:pos x="133" y="178"/>
              </a:cxn>
              <a:cxn ang="0">
                <a:pos x="133" y="156"/>
              </a:cxn>
              <a:cxn ang="0">
                <a:pos x="110" y="145"/>
              </a:cxn>
              <a:cxn ang="0">
                <a:pos x="85" y="130"/>
              </a:cxn>
              <a:cxn ang="0">
                <a:pos x="66" y="111"/>
              </a:cxn>
              <a:cxn ang="0">
                <a:pos x="73" y="133"/>
              </a:cxn>
              <a:cxn ang="0">
                <a:pos x="54" y="147"/>
              </a:cxn>
              <a:cxn ang="0">
                <a:pos x="40" y="178"/>
              </a:cxn>
              <a:cxn ang="0">
                <a:pos x="24" y="220"/>
              </a:cxn>
              <a:cxn ang="0">
                <a:pos x="13" y="265"/>
              </a:cxn>
              <a:cxn ang="0">
                <a:pos x="14" y="237"/>
              </a:cxn>
              <a:cxn ang="0">
                <a:pos x="23" y="209"/>
              </a:cxn>
              <a:cxn ang="0">
                <a:pos x="32" y="181"/>
              </a:cxn>
              <a:cxn ang="0">
                <a:pos x="30" y="143"/>
              </a:cxn>
              <a:cxn ang="0">
                <a:pos x="17" y="111"/>
              </a:cxn>
              <a:cxn ang="0">
                <a:pos x="0" y="73"/>
              </a:cxn>
              <a:cxn ang="0">
                <a:pos x="34" y="59"/>
              </a:cxn>
              <a:cxn ang="0">
                <a:pos x="59" y="55"/>
              </a:cxn>
              <a:cxn ang="0">
                <a:pos x="84" y="58"/>
              </a:cxn>
              <a:cxn ang="0">
                <a:pos x="102" y="66"/>
              </a:cxn>
              <a:cxn ang="0">
                <a:pos x="121" y="82"/>
              </a:cxn>
              <a:cxn ang="0">
                <a:pos x="140" y="111"/>
              </a:cxn>
              <a:cxn ang="0">
                <a:pos x="183" y="103"/>
              </a:cxn>
              <a:cxn ang="0">
                <a:pos x="196" y="96"/>
              </a:cxn>
              <a:cxn ang="0">
                <a:pos x="200" y="90"/>
              </a:cxn>
              <a:cxn ang="0">
                <a:pos x="207" y="73"/>
              </a:cxn>
              <a:cxn ang="0">
                <a:pos x="232" y="54"/>
              </a:cxn>
              <a:cxn ang="0">
                <a:pos x="254" y="49"/>
              </a:cxn>
              <a:cxn ang="0">
                <a:pos x="263" y="30"/>
              </a:cxn>
              <a:cxn ang="0">
                <a:pos x="280" y="9"/>
              </a:cxn>
              <a:cxn ang="0">
                <a:pos x="300" y="1"/>
              </a:cxn>
              <a:cxn ang="0">
                <a:pos x="323" y="0"/>
              </a:cxn>
              <a:cxn ang="0">
                <a:pos x="351" y="8"/>
              </a:cxn>
              <a:cxn ang="0">
                <a:pos x="399" y="38"/>
              </a:cxn>
              <a:cxn ang="0">
                <a:pos x="428" y="53"/>
              </a:cxn>
              <a:cxn ang="0">
                <a:pos x="459" y="60"/>
              </a:cxn>
              <a:cxn ang="0">
                <a:pos x="491" y="67"/>
              </a:cxn>
              <a:cxn ang="0">
                <a:pos x="491" y="326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89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7375526" y="2527301"/>
            <a:ext cx="53975" cy="60325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72" y="0"/>
              </a:cxn>
              <a:cxn ang="0">
                <a:pos x="81" y="6"/>
              </a:cxn>
              <a:cxn ang="0">
                <a:pos x="91" y="14"/>
              </a:cxn>
              <a:cxn ang="0">
                <a:pos x="101" y="25"/>
              </a:cxn>
              <a:cxn ang="0">
                <a:pos x="109" y="37"/>
              </a:cxn>
              <a:cxn ang="0">
                <a:pos x="118" y="49"/>
              </a:cxn>
              <a:cxn ang="0">
                <a:pos x="126" y="62"/>
              </a:cxn>
              <a:cxn ang="0">
                <a:pos x="128" y="68"/>
              </a:cxn>
              <a:cxn ang="0">
                <a:pos x="130" y="74"/>
              </a:cxn>
              <a:cxn ang="0">
                <a:pos x="131" y="80"/>
              </a:cxn>
              <a:cxn ang="0">
                <a:pos x="133" y="86"/>
              </a:cxn>
              <a:cxn ang="0">
                <a:pos x="131" y="92"/>
              </a:cxn>
              <a:cxn ang="0">
                <a:pos x="128" y="97"/>
              </a:cxn>
              <a:cxn ang="0">
                <a:pos x="124" y="102"/>
              </a:cxn>
              <a:cxn ang="0">
                <a:pos x="118" y="107"/>
              </a:cxn>
              <a:cxn ang="0">
                <a:pos x="113" y="111"/>
              </a:cxn>
              <a:cxn ang="0">
                <a:pos x="107" y="114"/>
              </a:cxn>
              <a:cxn ang="0">
                <a:pos x="103" y="117"/>
              </a:cxn>
              <a:cxn ang="0">
                <a:pos x="100" y="117"/>
              </a:cxn>
              <a:cxn ang="0">
                <a:pos x="72" y="95"/>
              </a:cxn>
              <a:cxn ang="0">
                <a:pos x="45" y="70"/>
              </a:cxn>
              <a:cxn ang="0">
                <a:pos x="32" y="58"/>
              </a:cxn>
              <a:cxn ang="0">
                <a:pos x="18" y="46"/>
              </a:cxn>
              <a:cxn ang="0">
                <a:pos x="8" y="33"/>
              </a:cxn>
              <a:cxn ang="0">
                <a:pos x="0" y="19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90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5832476" y="1931988"/>
            <a:ext cx="220663" cy="177800"/>
          </a:xfrm>
          <a:custGeom>
            <a:avLst/>
            <a:gdLst/>
            <a:ahLst/>
            <a:cxnLst>
              <a:cxn ang="0">
                <a:pos x="272" y="36"/>
              </a:cxn>
              <a:cxn ang="0">
                <a:pos x="484" y="86"/>
              </a:cxn>
              <a:cxn ang="0">
                <a:pos x="478" y="109"/>
              </a:cxn>
              <a:cxn ang="0">
                <a:pos x="471" y="129"/>
              </a:cxn>
              <a:cxn ang="0">
                <a:pos x="461" y="145"/>
              </a:cxn>
              <a:cxn ang="0">
                <a:pos x="451" y="153"/>
              </a:cxn>
              <a:cxn ang="0">
                <a:pos x="461" y="184"/>
              </a:cxn>
              <a:cxn ang="0">
                <a:pos x="477" y="215"/>
              </a:cxn>
              <a:cxn ang="0">
                <a:pos x="505" y="258"/>
              </a:cxn>
              <a:cxn ang="0">
                <a:pos x="493" y="271"/>
              </a:cxn>
              <a:cxn ang="0">
                <a:pos x="479" y="292"/>
              </a:cxn>
              <a:cxn ang="0">
                <a:pos x="468" y="314"/>
              </a:cxn>
              <a:cxn ang="0">
                <a:pos x="464" y="339"/>
              </a:cxn>
              <a:cxn ang="0">
                <a:pos x="443" y="338"/>
              </a:cxn>
              <a:cxn ang="0">
                <a:pos x="414" y="335"/>
              </a:cxn>
              <a:cxn ang="0">
                <a:pos x="385" y="331"/>
              </a:cxn>
              <a:cxn ang="0">
                <a:pos x="358" y="326"/>
              </a:cxn>
              <a:cxn ang="0">
                <a:pos x="304" y="325"/>
              </a:cxn>
              <a:cxn ang="0">
                <a:pos x="264" y="321"/>
              </a:cxn>
              <a:cxn ang="0">
                <a:pos x="248" y="317"/>
              </a:cxn>
              <a:cxn ang="0">
                <a:pos x="232" y="310"/>
              </a:cxn>
              <a:cxn ang="0">
                <a:pos x="213" y="300"/>
              </a:cxn>
              <a:cxn ang="0">
                <a:pos x="180" y="289"/>
              </a:cxn>
              <a:cxn ang="0">
                <a:pos x="146" y="273"/>
              </a:cxn>
              <a:cxn ang="0">
                <a:pos x="98" y="249"/>
              </a:cxn>
              <a:cxn ang="0">
                <a:pos x="62" y="206"/>
              </a:cxn>
              <a:cxn ang="0">
                <a:pos x="52" y="169"/>
              </a:cxn>
              <a:cxn ang="0">
                <a:pos x="36" y="124"/>
              </a:cxn>
              <a:cxn ang="0">
                <a:pos x="15" y="83"/>
              </a:cxn>
              <a:cxn ang="0">
                <a:pos x="2" y="64"/>
              </a:cxn>
              <a:cxn ang="0">
                <a:pos x="5" y="61"/>
              </a:cxn>
              <a:cxn ang="0">
                <a:pos x="11" y="56"/>
              </a:cxn>
              <a:cxn ang="0">
                <a:pos x="11" y="48"/>
              </a:cxn>
              <a:cxn ang="0">
                <a:pos x="11" y="43"/>
              </a:cxn>
              <a:cxn ang="0">
                <a:pos x="34" y="34"/>
              </a:cxn>
              <a:cxn ang="0">
                <a:pos x="73" y="22"/>
              </a:cxn>
              <a:cxn ang="0">
                <a:pos x="128" y="8"/>
              </a:cxn>
              <a:cxn ang="0">
                <a:pos x="173" y="11"/>
              </a:cxn>
              <a:cxn ang="0">
                <a:pos x="188" y="28"/>
              </a:cxn>
              <a:cxn ang="0">
                <a:pos x="201" y="35"/>
              </a:cxn>
              <a:cxn ang="0">
                <a:pos x="219" y="36"/>
              </a:cxn>
              <a:cxn ang="0">
                <a:pos x="239" y="36"/>
              </a:cxn>
              <a:cxn ang="0">
                <a:pos x="259" y="24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91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5895975" y="2136775"/>
            <a:ext cx="146050" cy="71438"/>
          </a:xfrm>
          <a:custGeom>
            <a:avLst/>
            <a:gdLst/>
            <a:ahLst/>
            <a:cxnLst>
              <a:cxn ang="0">
                <a:pos x="312" y="0"/>
              </a:cxn>
              <a:cxn ang="0">
                <a:pos x="186" y="0"/>
              </a:cxn>
              <a:cxn ang="0">
                <a:pos x="168" y="8"/>
              </a:cxn>
              <a:cxn ang="0">
                <a:pos x="144" y="21"/>
              </a:cxn>
              <a:cxn ang="0">
                <a:pos x="132" y="27"/>
              </a:cxn>
              <a:cxn ang="0">
                <a:pos x="119" y="32"/>
              </a:cxn>
              <a:cxn ang="0">
                <a:pos x="112" y="34"/>
              </a:cxn>
              <a:cxn ang="0">
                <a:pos x="105" y="35"/>
              </a:cxn>
              <a:cxn ang="0">
                <a:pos x="99" y="36"/>
              </a:cxn>
              <a:cxn ang="0">
                <a:pos x="93" y="37"/>
              </a:cxn>
              <a:cxn ang="0">
                <a:pos x="88" y="36"/>
              </a:cxn>
              <a:cxn ang="0">
                <a:pos x="84" y="35"/>
              </a:cxn>
              <a:cxn ang="0">
                <a:pos x="78" y="32"/>
              </a:cxn>
              <a:cxn ang="0">
                <a:pos x="74" y="30"/>
              </a:cxn>
              <a:cxn ang="0">
                <a:pos x="66" y="24"/>
              </a:cxn>
              <a:cxn ang="0">
                <a:pos x="59" y="18"/>
              </a:cxn>
              <a:cxn ang="0">
                <a:pos x="49" y="34"/>
              </a:cxn>
              <a:cxn ang="0">
                <a:pos x="37" y="51"/>
              </a:cxn>
              <a:cxn ang="0">
                <a:pos x="30" y="60"/>
              </a:cxn>
              <a:cxn ang="0">
                <a:pos x="21" y="68"/>
              </a:cxn>
              <a:cxn ang="0">
                <a:pos x="11" y="75"/>
              </a:cxn>
              <a:cxn ang="0">
                <a:pos x="0" y="80"/>
              </a:cxn>
              <a:cxn ang="0">
                <a:pos x="12" y="90"/>
              </a:cxn>
              <a:cxn ang="0">
                <a:pos x="23" y="100"/>
              </a:cxn>
              <a:cxn ang="0">
                <a:pos x="33" y="108"/>
              </a:cxn>
              <a:cxn ang="0">
                <a:pos x="44" y="116"/>
              </a:cxn>
              <a:cxn ang="0">
                <a:pos x="55" y="122"/>
              </a:cxn>
              <a:cxn ang="0">
                <a:pos x="66" y="129"/>
              </a:cxn>
              <a:cxn ang="0">
                <a:pos x="79" y="135"/>
              </a:cxn>
              <a:cxn ang="0">
                <a:pos x="93" y="141"/>
              </a:cxn>
              <a:cxn ang="0">
                <a:pos x="259" y="141"/>
              </a:cxn>
              <a:cxn ang="0">
                <a:pos x="269" y="124"/>
              </a:cxn>
              <a:cxn ang="0">
                <a:pos x="281" y="107"/>
              </a:cxn>
              <a:cxn ang="0">
                <a:pos x="292" y="92"/>
              </a:cxn>
              <a:cxn ang="0">
                <a:pos x="304" y="78"/>
              </a:cxn>
              <a:cxn ang="0">
                <a:pos x="315" y="64"/>
              </a:cxn>
              <a:cxn ang="0">
                <a:pos x="324" y="48"/>
              </a:cxn>
              <a:cxn ang="0">
                <a:pos x="333" y="34"/>
              </a:cxn>
              <a:cxn ang="0">
                <a:pos x="338" y="18"/>
              </a:cxn>
              <a:cxn ang="0">
                <a:pos x="312" y="0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92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5995989" y="1792289"/>
            <a:ext cx="111125" cy="65087"/>
          </a:xfrm>
          <a:custGeom>
            <a:avLst/>
            <a:gdLst/>
            <a:ahLst/>
            <a:cxnLst>
              <a:cxn ang="0">
                <a:pos x="259" y="129"/>
              </a:cxn>
              <a:cxn ang="0">
                <a:pos x="255" y="102"/>
              </a:cxn>
              <a:cxn ang="0">
                <a:pos x="252" y="80"/>
              </a:cxn>
              <a:cxn ang="0">
                <a:pos x="252" y="63"/>
              </a:cxn>
              <a:cxn ang="0">
                <a:pos x="253" y="50"/>
              </a:cxn>
              <a:cxn ang="0">
                <a:pos x="257" y="29"/>
              </a:cxn>
              <a:cxn ang="0">
                <a:pos x="259" y="12"/>
              </a:cxn>
              <a:cxn ang="0">
                <a:pos x="258" y="14"/>
              </a:cxn>
              <a:cxn ang="0">
                <a:pos x="256" y="16"/>
              </a:cxn>
              <a:cxn ang="0">
                <a:pos x="253" y="17"/>
              </a:cxn>
              <a:cxn ang="0">
                <a:pos x="249" y="18"/>
              </a:cxn>
              <a:cxn ang="0">
                <a:pos x="239" y="19"/>
              </a:cxn>
              <a:cxn ang="0">
                <a:pos x="228" y="19"/>
              </a:cxn>
              <a:cxn ang="0">
                <a:pos x="205" y="19"/>
              </a:cxn>
              <a:cxn ang="0">
                <a:pos x="192" y="18"/>
              </a:cxn>
              <a:cxn ang="0">
                <a:pos x="181" y="17"/>
              </a:cxn>
              <a:cxn ang="0">
                <a:pos x="172" y="15"/>
              </a:cxn>
              <a:cxn ang="0">
                <a:pos x="163" y="12"/>
              </a:cxn>
              <a:cxn ang="0">
                <a:pos x="156" y="9"/>
              </a:cxn>
              <a:cxn ang="0">
                <a:pos x="146" y="6"/>
              </a:cxn>
              <a:cxn ang="0">
                <a:pos x="134" y="3"/>
              </a:cxn>
              <a:cxn ang="0">
                <a:pos x="118" y="1"/>
              </a:cxn>
              <a:cxn ang="0">
                <a:pos x="99" y="0"/>
              </a:cxn>
              <a:cxn ang="0">
                <a:pos x="83" y="0"/>
              </a:cxn>
              <a:cxn ang="0">
                <a:pos x="67" y="0"/>
              </a:cxn>
              <a:cxn ang="0">
                <a:pos x="50" y="0"/>
              </a:cxn>
              <a:cxn ang="0">
                <a:pos x="34" y="2"/>
              </a:cxn>
              <a:cxn ang="0">
                <a:pos x="27" y="4"/>
              </a:cxn>
              <a:cxn ang="0">
                <a:pos x="21" y="6"/>
              </a:cxn>
              <a:cxn ang="0">
                <a:pos x="14" y="9"/>
              </a:cxn>
              <a:cxn ang="0">
                <a:pos x="10" y="13"/>
              </a:cxn>
              <a:cxn ang="0">
                <a:pos x="5" y="17"/>
              </a:cxn>
              <a:cxn ang="0">
                <a:pos x="2" y="22"/>
              </a:cxn>
              <a:cxn ang="0">
                <a:pos x="0" y="29"/>
              </a:cxn>
              <a:cxn ang="0">
                <a:pos x="0" y="36"/>
              </a:cxn>
              <a:cxn ang="0">
                <a:pos x="0" y="48"/>
              </a:cxn>
              <a:cxn ang="0">
                <a:pos x="3" y="58"/>
              </a:cxn>
              <a:cxn ang="0">
                <a:pos x="6" y="65"/>
              </a:cxn>
              <a:cxn ang="0">
                <a:pos x="12" y="71"/>
              </a:cxn>
              <a:cxn ang="0">
                <a:pos x="17" y="76"/>
              </a:cxn>
              <a:cxn ang="0">
                <a:pos x="24" y="80"/>
              </a:cxn>
              <a:cxn ang="0">
                <a:pos x="31" y="83"/>
              </a:cxn>
              <a:cxn ang="0">
                <a:pos x="37" y="85"/>
              </a:cxn>
              <a:cxn ang="0">
                <a:pos x="50" y="88"/>
              </a:cxn>
              <a:cxn ang="0">
                <a:pos x="61" y="92"/>
              </a:cxn>
              <a:cxn ang="0">
                <a:pos x="65" y="95"/>
              </a:cxn>
              <a:cxn ang="0">
                <a:pos x="67" y="99"/>
              </a:cxn>
              <a:cxn ang="0">
                <a:pos x="67" y="105"/>
              </a:cxn>
              <a:cxn ang="0">
                <a:pos x="66" y="111"/>
              </a:cxn>
              <a:cxn ang="0">
                <a:pos x="81" y="110"/>
              </a:cxn>
              <a:cxn ang="0">
                <a:pos x="91" y="108"/>
              </a:cxn>
              <a:cxn ang="0">
                <a:pos x="98" y="106"/>
              </a:cxn>
              <a:cxn ang="0">
                <a:pos x="105" y="105"/>
              </a:cxn>
              <a:cxn ang="0">
                <a:pos x="120" y="106"/>
              </a:cxn>
              <a:cxn ang="0">
                <a:pos x="140" y="108"/>
              </a:cxn>
              <a:cxn ang="0">
                <a:pos x="166" y="112"/>
              </a:cxn>
              <a:cxn ang="0">
                <a:pos x="192" y="117"/>
              </a:cxn>
              <a:cxn ang="0">
                <a:pos x="238" y="125"/>
              </a:cxn>
              <a:cxn ang="0">
                <a:pos x="259" y="129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93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6008689" y="2139951"/>
            <a:ext cx="179387" cy="142875"/>
          </a:xfrm>
          <a:custGeom>
            <a:avLst/>
            <a:gdLst/>
            <a:ahLst/>
            <a:cxnLst>
              <a:cxn ang="0">
                <a:pos x="418" y="170"/>
              </a:cxn>
              <a:cxn ang="0">
                <a:pos x="398" y="188"/>
              </a:cxn>
              <a:cxn ang="0">
                <a:pos x="383" y="206"/>
              </a:cxn>
              <a:cxn ang="0">
                <a:pos x="384" y="221"/>
              </a:cxn>
              <a:cxn ang="0">
                <a:pos x="389" y="237"/>
              </a:cxn>
              <a:cxn ang="0">
                <a:pos x="375" y="244"/>
              </a:cxn>
              <a:cxn ang="0">
                <a:pos x="347" y="238"/>
              </a:cxn>
              <a:cxn ang="0">
                <a:pos x="324" y="235"/>
              </a:cxn>
              <a:cxn ang="0">
                <a:pos x="295" y="235"/>
              </a:cxn>
              <a:cxn ang="0">
                <a:pos x="263" y="243"/>
              </a:cxn>
              <a:cxn ang="0">
                <a:pos x="232" y="254"/>
              </a:cxn>
              <a:cxn ang="0">
                <a:pos x="197" y="267"/>
              </a:cxn>
              <a:cxn ang="0">
                <a:pos x="100" y="240"/>
              </a:cxn>
              <a:cxn ang="0">
                <a:pos x="85" y="226"/>
              </a:cxn>
              <a:cxn ang="0">
                <a:pos x="70" y="214"/>
              </a:cxn>
              <a:cxn ang="0">
                <a:pos x="37" y="192"/>
              </a:cxn>
              <a:cxn ang="0">
                <a:pos x="22" y="180"/>
              </a:cxn>
              <a:cxn ang="0">
                <a:pos x="11" y="167"/>
              </a:cxn>
              <a:cxn ang="0">
                <a:pos x="2" y="150"/>
              </a:cxn>
              <a:cxn ang="0">
                <a:pos x="0" y="129"/>
              </a:cxn>
              <a:cxn ang="0">
                <a:pos x="50" y="66"/>
              </a:cxn>
              <a:cxn ang="0">
                <a:pos x="71" y="36"/>
              </a:cxn>
              <a:cxn ang="0">
                <a:pos x="80" y="22"/>
              </a:cxn>
              <a:cxn ang="0">
                <a:pos x="85" y="6"/>
              </a:cxn>
              <a:cxn ang="0">
                <a:pos x="123" y="10"/>
              </a:cxn>
              <a:cxn ang="0">
                <a:pos x="153" y="18"/>
              </a:cxn>
              <a:cxn ang="0">
                <a:pos x="180" y="27"/>
              </a:cxn>
              <a:cxn ang="0">
                <a:pos x="205" y="31"/>
              </a:cxn>
              <a:cxn ang="0">
                <a:pos x="214" y="29"/>
              </a:cxn>
              <a:cxn ang="0">
                <a:pos x="221" y="26"/>
              </a:cxn>
              <a:cxn ang="0">
                <a:pos x="232" y="15"/>
              </a:cxn>
              <a:cxn ang="0">
                <a:pos x="242" y="5"/>
              </a:cxn>
              <a:cxn ang="0">
                <a:pos x="250" y="2"/>
              </a:cxn>
              <a:cxn ang="0">
                <a:pos x="259" y="0"/>
              </a:cxn>
              <a:cxn ang="0">
                <a:pos x="275" y="2"/>
              </a:cxn>
              <a:cxn ang="0">
                <a:pos x="289" y="7"/>
              </a:cxn>
              <a:cxn ang="0">
                <a:pos x="302" y="15"/>
              </a:cxn>
              <a:cxn ang="0">
                <a:pos x="310" y="26"/>
              </a:cxn>
              <a:cxn ang="0">
                <a:pos x="325" y="53"/>
              </a:cxn>
              <a:cxn ang="0">
                <a:pos x="337" y="82"/>
              </a:cxn>
              <a:cxn ang="0">
                <a:pos x="349" y="113"/>
              </a:cxn>
              <a:cxn ang="0">
                <a:pos x="356" y="126"/>
              </a:cxn>
              <a:cxn ang="0">
                <a:pos x="365" y="138"/>
              </a:cxn>
              <a:cxn ang="0">
                <a:pos x="376" y="147"/>
              </a:cxn>
              <a:cxn ang="0">
                <a:pos x="389" y="156"/>
              </a:cxn>
              <a:cxn ang="0">
                <a:pos x="405" y="160"/>
              </a:cxn>
              <a:cxn ang="0">
                <a:pos x="425" y="161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94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4008439" y="3178176"/>
            <a:ext cx="14287" cy="55563"/>
          </a:xfrm>
          <a:custGeom>
            <a:avLst/>
            <a:gdLst/>
            <a:ahLst/>
            <a:cxnLst>
              <a:cxn ang="0">
                <a:pos x="13" y="6"/>
              </a:cxn>
              <a:cxn ang="0">
                <a:pos x="0" y="19"/>
              </a:cxn>
              <a:cxn ang="0">
                <a:pos x="5" y="21"/>
              </a:cxn>
              <a:cxn ang="0">
                <a:pos x="14" y="25"/>
              </a:cxn>
              <a:cxn ang="0">
                <a:pos x="19" y="27"/>
              </a:cxn>
              <a:cxn ang="0">
                <a:pos x="23" y="29"/>
              </a:cxn>
              <a:cxn ang="0">
                <a:pos x="27" y="30"/>
              </a:cxn>
              <a:cxn ang="0">
                <a:pos x="33" y="31"/>
              </a:cxn>
              <a:cxn ang="0">
                <a:pos x="33" y="0"/>
              </a:cxn>
              <a:cxn ang="0">
                <a:pos x="20" y="0"/>
              </a:cxn>
              <a:cxn ang="0">
                <a:pos x="13" y="6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95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6113464" y="2132014"/>
            <a:ext cx="85725" cy="79375"/>
          </a:xfrm>
          <a:custGeom>
            <a:avLst/>
            <a:gdLst/>
            <a:ahLst/>
            <a:cxnLst>
              <a:cxn ang="0">
                <a:pos x="6" y="19"/>
              </a:cxn>
              <a:cxn ang="0">
                <a:pos x="52" y="0"/>
              </a:cxn>
              <a:cxn ang="0">
                <a:pos x="92" y="19"/>
              </a:cxn>
              <a:cxn ang="0">
                <a:pos x="119" y="31"/>
              </a:cxn>
              <a:cxn ang="0">
                <a:pos x="146" y="63"/>
              </a:cxn>
              <a:cxn ang="0">
                <a:pos x="166" y="93"/>
              </a:cxn>
              <a:cxn ang="0">
                <a:pos x="192" y="118"/>
              </a:cxn>
              <a:cxn ang="0">
                <a:pos x="152" y="124"/>
              </a:cxn>
              <a:cxn ang="0">
                <a:pos x="126" y="130"/>
              </a:cxn>
              <a:cxn ang="0">
                <a:pos x="126" y="154"/>
              </a:cxn>
              <a:cxn ang="0">
                <a:pos x="106" y="154"/>
              </a:cxn>
              <a:cxn ang="0">
                <a:pos x="99" y="146"/>
              </a:cxn>
              <a:cxn ang="0">
                <a:pos x="93" y="137"/>
              </a:cxn>
              <a:cxn ang="0">
                <a:pos x="88" y="126"/>
              </a:cxn>
              <a:cxn ang="0">
                <a:pos x="82" y="115"/>
              </a:cxn>
              <a:cxn ang="0">
                <a:pos x="74" y="93"/>
              </a:cxn>
              <a:cxn ang="0">
                <a:pos x="65" y="71"/>
              </a:cxn>
              <a:cxn ang="0">
                <a:pos x="60" y="61"/>
              </a:cxn>
              <a:cxn ang="0">
                <a:pos x="55" y="50"/>
              </a:cxn>
              <a:cxn ang="0">
                <a:pos x="48" y="42"/>
              </a:cxn>
              <a:cxn ang="0">
                <a:pos x="41" y="34"/>
              </a:cxn>
              <a:cxn ang="0">
                <a:pos x="33" y="28"/>
              </a:cxn>
              <a:cxn ang="0">
                <a:pos x="24" y="23"/>
              </a:cxn>
              <a:cxn ang="0">
                <a:pos x="18" y="22"/>
              </a:cxn>
              <a:cxn ang="0">
                <a:pos x="12" y="20"/>
              </a:cxn>
              <a:cxn ang="0">
                <a:pos x="6" y="20"/>
              </a:cxn>
              <a:cxn ang="0">
                <a:pos x="0" y="19"/>
              </a:cxn>
              <a:cxn ang="0">
                <a:pos x="6" y="19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96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6030913" y="2014538"/>
            <a:ext cx="381000" cy="247650"/>
          </a:xfrm>
          <a:custGeom>
            <a:avLst/>
            <a:gdLst/>
            <a:ahLst/>
            <a:cxnLst>
              <a:cxn ang="0">
                <a:pos x="392" y="340"/>
              </a:cxn>
              <a:cxn ang="0">
                <a:pos x="319" y="253"/>
              </a:cxn>
              <a:cxn ang="0">
                <a:pos x="206" y="241"/>
              </a:cxn>
              <a:cxn ang="0">
                <a:pos x="191" y="243"/>
              </a:cxn>
              <a:cxn ang="0">
                <a:pos x="178" y="251"/>
              </a:cxn>
              <a:cxn ang="0">
                <a:pos x="162" y="267"/>
              </a:cxn>
              <a:cxn ang="0">
                <a:pos x="151" y="271"/>
              </a:cxn>
              <a:cxn ang="0">
                <a:pos x="121" y="268"/>
              </a:cxn>
              <a:cxn ang="0">
                <a:pos x="79" y="255"/>
              </a:cxn>
              <a:cxn ang="0">
                <a:pos x="26" y="247"/>
              </a:cxn>
              <a:cxn ang="0">
                <a:pos x="8" y="212"/>
              </a:cxn>
              <a:cxn ang="0">
                <a:pos x="13" y="187"/>
              </a:cxn>
              <a:cxn ang="0">
                <a:pos x="13" y="180"/>
              </a:cxn>
              <a:cxn ang="0">
                <a:pos x="23" y="144"/>
              </a:cxn>
              <a:cxn ang="0">
                <a:pos x="44" y="112"/>
              </a:cxn>
              <a:cxn ang="0">
                <a:pos x="54" y="92"/>
              </a:cxn>
              <a:cxn ang="0">
                <a:pos x="26" y="50"/>
              </a:cxn>
              <a:cxn ang="0">
                <a:pos x="173" y="26"/>
              </a:cxn>
              <a:cxn ang="0">
                <a:pos x="339" y="50"/>
              </a:cxn>
              <a:cxn ang="0">
                <a:pos x="392" y="13"/>
              </a:cxn>
              <a:cxn ang="0">
                <a:pos x="485" y="0"/>
              </a:cxn>
              <a:cxn ang="0">
                <a:pos x="579" y="38"/>
              </a:cxn>
              <a:cxn ang="0">
                <a:pos x="638" y="111"/>
              </a:cxn>
              <a:cxn ang="0">
                <a:pos x="725" y="111"/>
              </a:cxn>
              <a:cxn ang="0">
                <a:pos x="838" y="155"/>
              </a:cxn>
              <a:cxn ang="0">
                <a:pos x="864" y="235"/>
              </a:cxn>
              <a:cxn ang="0">
                <a:pos x="804" y="272"/>
              </a:cxn>
              <a:cxn ang="0">
                <a:pos x="754" y="313"/>
              </a:cxn>
              <a:cxn ang="0">
                <a:pos x="688" y="330"/>
              </a:cxn>
              <a:cxn ang="0">
                <a:pos x="663" y="343"/>
              </a:cxn>
              <a:cxn ang="0">
                <a:pos x="648" y="358"/>
              </a:cxn>
              <a:cxn ang="0">
                <a:pos x="646" y="375"/>
              </a:cxn>
              <a:cxn ang="0">
                <a:pos x="653" y="390"/>
              </a:cxn>
              <a:cxn ang="0">
                <a:pos x="666" y="401"/>
              </a:cxn>
              <a:cxn ang="0">
                <a:pos x="711" y="396"/>
              </a:cxn>
              <a:cxn ang="0">
                <a:pos x="741" y="394"/>
              </a:cxn>
              <a:cxn ang="0">
                <a:pos x="734" y="403"/>
              </a:cxn>
              <a:cxn ang="0">
                <a:pos x="716" y="421"/>
              </a:cxn>
              <a:cxn ang="0">
                <a:pos x="698" y="438"/>
              </a:cxn>
              <a:cxn ang="0">
                <a:pos x="689" y="419"/>
              </a:cxn>
              <a:cxn ang="0">
                <a:pos x="671" y="408"/>
              </a:cxn>
              <a:cxn ang="0">
                <a:pos x="666" y="423"/>
              </a:cxn>
              <a:cxn ang="0">
                <a:pos x="643" y="442"/>
              </a:cxn>
              <a:cxn ang="0">
                <a:pos x="619" y="460"/>
              </a:cxn>
              <a:cxn ang="0">
                <a:pos x="611" y="469"/>
              </a:cxn>
              <a:cxn ang="0">
                <a:pos x="595" y="464"/>
              </a:cxn>
              <a:cxn ang="0">
                <a:pos x="584" y="455"/>
              </a:cxn>
              <a:cxn ang="0">
                <a:pos x="575" y="439"/>
              </a:cxn>
              <a:cxn ang="0">
                <a:pos x="572" y="408"/>
              </a:cxn>
              <a:cxn ang="0">
                <a:pos x="548" y="404"/>
              </a:cxn>
              <a:cxn ang="0">
                <a:pos x="518" y="389"/>
              </a:cxn>
              <a:cxn ang="0">
                <a:pos x="559" y="379"/>
              </a:cxn>
              <a:cxn ang="0">
                <a:pos x="625" y="370"/>
              </a:cxn>
              <a:cxn ang="0">
                <a:pos x="493" y="354"/>
              </a:cxn>
              <a:cxn ang="0">
                <a:pos x="445" y="333"/>
              </a:cxn>
              <a:cxn ang="0">
                <a:pos x="398" y="369"/>
              </a:cxn>
              <a:cxn ang="0">
                <a:pos x="380" y="395"/>
              </a:cxn>
              <a:cxn ang="0">
                <a:pos x="353" y="400"/>
              </a:cxn>
              <a:cxn ang="0">
                <a:pos x="328" y="392"/>
              </a:cxn>
              <a:cxn ang="0">
                <a:pos x="306" y="376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97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6542089" y="2357438"/>
            <a:ext cx="47625" cy="63500"/>
          </a:xfrm>
          <a:custGeom>
            <a:avLst/>
            <a:gdLst/>
            <a:ahLst/>
            <a:cxnLst>
              <a:cxn ang="0">
                <a:pos x="48" y="0"/>
              </a:cxn>
              <a:cxn ang="0">
                <a:pos x="81" y="31"/>
              </a:cxn>
              <a:cxn ang="0">
                <a:pos x="94" y="67"/>
              </a:cxn>
              <a:cxn ang="0">
                <a:pos x="107" y="86"/>
              </a:cxn>
              <a:cxn ang="0">
                <a:pos x="107" y="117"/>
              </a:cxn>
              <a:cxn ang="0">
                <a:pos x="107" y="123"/>
              </a:cxn>
              <a:cxn ang="0">
                <a:pos x="88" y="114"/>
              </a:cxn>
              <a:cxn ang="0">
                <a:pos x="73" y="105"/>
              </a:cxn>
              <a:cxn ang="0">
                <a:pos x="61" y="98"/>
              </a:cxn>
              <a:cxn ang="0">
                <a:pos x="54" y="92"/>
              </a:cxn>
              <a:cxn ang="0">
                <a:pos x="51" y="83"/>
              </a:cxn>
              <a:cxn ang="0">
                <a:pos x="48" y="73"/>
              </a:cxn>
              <a:cxn ang="0">
                <a:pos x="39" y="74"/>
              </a:cxn>
              <a:cxn ang="0">
                <a:pos x="32" y="73"/>
              </a:cxn>
              <a:cxn ang="0">
                <a:pos x="26" y="72"/>
              </a:cxn>
              <a:cxn ang="0">
                <a:pos x="21" y="70"/>
              </a:cxn>
              <a:cxn ang="0">
                <a:pos x="17" y="67"/>
              </a:cxn>
              <a:cxn ang="0">
                <a:pos x="14" y="63"/>
              </a:cxn>
              <a:cxn ang="0">
                <a:pos x="11" y="59"/>
              </a:cxn>
              <a:cxn ang="0">
                <a:pos x="9" y="54"/>
              </a:cxn>
              <a:cxn ang="0">
                <a:pos x="4" y="31"/>
              </a:cxn>
              <a:cxn ang="0">
                <a:pos x="0" y="6"/>
              </a:cxn>
              <a:cxn ang="0">
                <a:pos x="34" y="0"/>
              </a:cxn>
              <a:cxn ang="0">
                <a:pos x="48" y="0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98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7085013" y="2371725"/>
            <a:ext cx="207962" cy="122238"/>
          </a:xfrm>
          <a:custGeom>
            <a:avLst/>
            <a:gdLst/>
            <a:ahLst/>
            <a:cxnLst>
              <a:cxn ang="0">
                <a:pos x="106" y="67"/>
              </a:cxn>
              <a:cxn ang="0">
                <a:pos x="166" y="86"/>
              </a:cxn>
              <a:cxn ang="0">
                <a:pos x="272" y="105"/>
              </a:cxn>
              <a:cxn ang="0">
                <a:pos x="372" y="86"/>
              </a:cxn>
              <a:cxn ang="0">
                <a:pos x="383" y="95"/>
              </a:cxn>
              <a:cxn ang="0">
                <a:pos x="391" y="114"/>
              </a:cxn>
              <a:cxn ang="0">
                <a:pos x="406" y="124"/>
              </a:cxn>
              <a:cxn ang="0">
                <a:pos x="424" y="129"/>
              </a:cxn>
              <a:cxn ang="0">
                <a:pos x="433" y="134"/>
              </a:cxn>
              <a:cxn ang="0">
                <a:pos x="441" y="141"/>
              </a:cxn>
              <a:cxn ang="0">
                <a:pos x="448" y="151"/>
              </a:cxn>
              <a:cxn ang="0">
                <a:pos x="455" y="170"/>
              </a:cxn>
              <a:cxn ang="0">
                <a:pos x="471" y="190"/>
              </a:cxn>
              <a:cxn ang="0">
                <a:pos x="350" y="202"/>
              </a:cxn>
              <a:cxn ang="0">
                <a:pos x="330" y="224"/>
              </a:cxn>
              <a:cxn ang="0">
                <a:pos x="317" y="233"/>
              </a:cxn>
              <a:cxn ang="0">
                <a:pos x="306" y="233"/>
              </a:cxn>
              <a:cxn ang="0">
                <a:pos x="298" y="230"/>
              </a:cxn>
              <a:cxn ang="0">
                <a:pos x="292" y="224"/>
              </a:cxn>
              <a:cxn ang="0">
                <a:pos x="289" y="216"/>
              </a:cxn>
              <a:cxn ang="0">
                <a:pos x="284" y="199"/>
              </a:cxn>
              <a:cxn ang="0">
                <a:pos x="278" y="174"/>
              </a:cxn>
              <a:cxn ang="0">
                <a:pos x="269" y="155"/>
              </a:cxn>
              <a:cxn ang="0">
                <a:pos x="258" y="148"/>
              </a:cxn>
              <a:cxn ang="0">
                <a:pos x="246" y="141"/>
              </a:cxn>
              <a:cxn ang="0">
                <a:pos x="236" y="133"/>
              </a:cxn>
              <a:cxn ang="0">
                <a:pos x="224" y="140"/>
              </a:cxn>
              <a:cxn ang="0">
                <a:pos x="207" y="162"/>
              </a:cxn>
              <a:cxn ang="0">
                <a:pos x="200" y="177"/>
              </a:cxn>
              <a:cxn ang="0">
                <a:pos x="188" y="190"/>
              </a:cxn>
              <a:cxn ang="0">
                <a:pos x="167" y="201"/>
              </a:cxn>
              <a:cxn ang="0">
                <a:pos x="147" y="213"/>
              </a:cxn>
              <a:cxn ang="0">
                <a:pos x="130" y="219"/>
              </a:cxn>
              <a:cxn ang="0">
                <a:pos x="114" y="222"/>
              </a:cxn>
              <a:cxn ang="0">
                <a:pos x="97" y="221"/>
              </a:cxn>
              <a:cxn ang="0">
                <a:pos x="82" y="217"/>
              </a:cxn>
              <a:cxn ang="0">
                <a:pos x="63" y="205"/>
              </a:cxn>
              <a:cxn ang="0">
                <a:pos x="59" y="197"/>
              </a:cxn>
              <a:cxn ang="0">
                <a:pos x="59" y="135"/>
              </a:cxn>
              <a:cxn ang="0">
                <a:pos x="0" y="98"/>
              </a:cxn>
              <a:cxn ang="0">
                <a:pos x="53" y="80"/>
              </a:cxn>
              <a:cxn ang="0">
                <a:pos x="86" y="30"/>
              </a:cxn>
              <a:cxn ang="0">
                <a:pos x="133" y="0"/>
              </a:cxn>
              <a:cxn ang="0">
                <a:pos x="166" y="42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399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7134226" y="2300288"/>
            <a:ext cx="225425" cy="125412"/>
          </a:xfrm>
          <a:custGeom>
            <a:avLst/>
            <a:gdLst/>
            <a:ahLst/>
            <a:cxnLst>
              <a:cxn ang="0">
                <a:pos x="106" y="185"/>
              </a:cxn>
              <a:cxn ang="0">
                <a:pos x="173" y="148"/>
              </a:cxn>
              <a:cxn ang="0">
                <a:pos x="93" y="105"/>
              </a:cxn>
              <a:cxn ang="0">
                <a:pos x="47" y="117"/>
              </a:cxn>
              <a:cxn ang="0">
                <a:pos x="66" y="61"/>
              </a:cxn>
              <a:cxn ang="0">
                <a:pos x="40" y="43"/>
              </a:cxn>
              <a:cxn ang="0">
                <a:pos x="112" y="25"/>
              </a:cxn>
              <a:cxn ang="0">
                <a:pos x="186" y="0"/>
              </a:cxn>
              <a:cxn ang="0">
                <a:pos x="312" y="19"/>
              </a:cxn>
              <a:cxn ang="0">
                <a:pos x="439" y="25"/>
              </a:cxn>
              <a:cxn ang="0">
                <a:pos x="525" y="55"/>
              </a:cxn>
              <a:cxn ang="0">
                <a:pos x="519" y="69"/>
              </a:cxn>
              <a:cxn ang="0">
                <a:pos x="510" y="82"/>
              </a:cxn>
              <a:cxn ang="0">
                <a:pos x="499" y="92"/>
              </a:cxn>
              <a:cxn ang="0">
                <a:pos x="485" y="99"/>
              </a:cxn>
              <a:cxn ang="0">
                <a:pos x="442" y="103"/>
              </a:cxn>
              <a:cxn ang="0">
                <a:pos x="418" y="107"/>
              </a:cxn>
              <a:cxn ang="0">
                <a:pos x="407" y="111"/>
              </a:cxn>
              <a:cxn ang="0">
                <a:pos x="399" y="117"/>
              </a:cxn>
              <a:cxn ang="0">
                <a:pos x="387" y="136"/>
              </a:cxn>
              <a:cxn ang="0">
                <a:pos x="378" y="147"/>
              </a:cxn>
              <a:cxn ang="0">
                <a:pos x="365" y="154"/>
              </a:cxn>
              <a:cxn ang="0">
                <a:pos x="305" y="166"/>
              </a:cxn>
              <a:cxn ang="0">
                <a:pos x="273" y="173"/>
              </a:cxn>
              <a:cxn ang="0">
                <a:pos x="260" y="178"/>
              </a:cxn>
              <a:cxn ang="0">
                <a:pos x="261" y="192"/>
              </a:cxn>
              <a:cxn ang="0">
                <a:pos x="263" y="203"/>
              </a:cxn>
              <a:cxn ang="0">
                <a:pos x="273" y="222"/>
              </a:cxn>
              <a:cxn ang="0">
                <a:pos x="219" y="228"/>
              </a:cxn>
              <a:cxn ang="0">
                <a:pos x="112" y="234"/>
              </a:cxn>
              <a:cxn ang="0">
                <a:pos x="20" y="222"/>
              </a:cxn>
              <a:cxn ang="0">
                <a:pos x="53" y="166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400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6740525" y="2316163"/>
            <a:ext cx="342900" cy="227012"/>
          </a:xfrm>
          <a:custGeom>
            <a:avLst/>
            <a:gdLst/>
            <a:ahLst/>
            <a:cxnLst>
              <a:cxn ang="0">
                <a:pos x="768" y="292"/>
              </a:cxn>
              <a:cxn ang="0">
                <a:pos x="751" y="293"/>
              </a:cxn>
              <a:cxn ang="0">
                <a:pos x="731" y="302"/>
              </a:cxn>
              <a:cxn ang="0">
                <a:pos x="723" y="308"/>
              </a:cxn>
              <a:cxn ang="0">
                <a:pos x="717" y="332"/>
              </a:cxn>
              <a:cxn ang="0">
                <a:pos x="713" y="360"/>
              </a:cxn>
              <a:cxn ang="0">
                <a:pos x="704" y="376"/>
              </a:cxn>
              <a:cxn ang="0">
                <a:pos x="671" y="402"/>
              </a:cxn>
              <a:cxn ang="0">
                <a:pos x="633" y="420"/>
              </a:cxn>
              <a:cxn ang="0">
                <a:pos x="612" y="424"/>
              </a:cxn>
              <a:cxn ang="0">
                <a:pos x="587" y="429"/>
              </a:cxn>
              <a:cxn ang="0">
                <a:pos x="567" y="428"/>
              </a:cxn>
              <a:cxn ang="0">
                <a:pos x="545" y="388"/>
              </a:cxn>
              <a:cxn ang="0">
                <a:pos x="515" y="344"/>
              </a:cxn>
              <a:cxn ang="0">
                <a:pos x="478" y="334"/>
              </a:cxn>
              <a:cxn ang="0">
                <a:pos x="448" y="315"/>
              </a:cxn>
              <a:cxn ang="0">
                <a:pos x="417" y="294"/>
              </a:cxn>
              <a:cxn ang="0">
                <a:pos x="373" y="274"/>
              </a:cxn>
              <a:cxn ang="0">
                <a:pos x="306" y="258"/>
              </a:cxn>
              <a:cxn ang="0">
                <a:pos x="182" y="283"/>
              </a:cxn>
              <a:cxn ang="0">
                <a:pos x="151" y="306"/>
              </a:cxn>
              <a:cxn ang="0">
                <a:pos x="127" y="308"/>
              </a:cxn>
              <a:cxn ang="0">
                <a:pos x="66" y="252"/>
              </a:cxn>
              <a:cxn ang="0">
                <a:pos x="66" y="204"/>
              </a:cxn>
              <a:cxn ang="0">
                <a:pos x="40" y="179"/>
              </a:cxn>
              <a:cxn ang="0">
                <a:pos x="42" y="199"/>
              </a:cxn>
              <a:cxn ang="0">
                <a:pos x="36" y="218"/>
              </a:cxn>
              <a:cxn ang="0">
                <a:pos x="30" y="221"/>
              </a:cxn>
              <a:cxn ang="0">
                <a:pos x="31" y="203"/>
              </a:cxn>
              <a:cxn ang="0">
                <a:pos x="27" y="174"/>
              </a:cxn>
              <a:cxn ang="0">
                <a:pos x="33" y="163"/>
              </a:cxn>
              <a:cxn ang="0">
                <a:pos x="40" y="152"/>
              </a:cxn>
              <a:cxn ang="0">
                <a:pos x="27" y="129"/>
              </a:cxn>
              <a:cxn ang="0">
                <a:pos x="7" y="126"/>
              </a:cxn>
              <a:cxn ang="0">
                <a:pos x="0" y="117"/>
              </a:cxn>
              <a:cxn ang="0">
                <a:pos x="3" y="104"/>
              </a:cxn>
              <a:cxn ang="0">
                <a:pos x="11" y="94"/>
              </a:cxn>
              <a:cxn ang="0">
                <a:pos x="27" y="92"/>
              </a:cxn>
              <a:cxn ang="0">
                <a:pos x="41" y="99"/>
              </a:cxn>
              <a:cxn ang="0">
                <a:pos x="57" y="104"/>
              </a:cxn>
              <a:cxn ang="0">
                <a:pos x="71" y="92"/>
              </a:cxn>
              <a:cxn ang="0">
                <a:pos x="83" y="77"/>
              </a:cxn>
              <a:cxn ang="0">
                <a:pos x="87" y="64"/>
              </a:cxn>
              <a:cxn ang="0">
                <a:pos x="78" y="55"/>
              </a:cxn>
              <a:cxn ang="0">
                <a:pos x="55" y="49"/>
              </a:cxn>
              <a:cxn ang="0">
                <a:pos x="47" y="40"/>
              </a:cxn>
              <a:cxn ang="0">
                <a:pos x="41" y="28"/>
              </a:cxn>
              <a:cxn ang="0">
                <a:pos x="107" y="43"/>
              </a:cxn>
              <a:cxn ang="0">
                <a:pos x="219" y="74"/>
              </a:cxn>
              <a:cxn ang="0">
                <a:pos x="273" y="0"/>
              </a:cxn>
              <a:cxn ang="0">
                <a:pos x="373" y="43"/>
              </a:cxn>
              <a:cxn ang="0">
                <a:pos x="465" y="92"/>
              </a:cxn>
              <a:cxn ang="0">
                <a:pos x="591" y="210"/>
              </a:cxn>
              <a:cxn ang="0">
                <a:pos x="724" y="265"/>
              </a:cxn>
              <a:cxn ang="0">
                <a:pos x="778" y="295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401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5949950" y="2203451"/>
            <a:ext cx="107950" cy="149225"/>
          </a:xfrm>
          <a:custGeom>
            <a:avLst/>
            <a:gdLst/>
            <a:ahLst/>
            <a:cxnLst>
              <a:cxn ang="0">
                <a:pos x="30" y="27"/>
              </a:cxn>
              <a:cxn ang="0">
                <a:pos x="28" y="24"/>
              </a:cxn>
              <a:cxn ang="0">
                <a:pos x="24" y="17"/>
              </a:cxn>
              <a:cxn ang="0">
                <a:pos x="35" y="5"/>
              </a:cxn>
              <a:cxn ang="0">
                <a:pos x="67" y="1"/>
              </a:cxn>
              <a:cxn ang="0">
                <a:pos x="126" y="12"/>
              </a:cxn>
              <a:cxn ang="0">
                <a:pos x="131" y="30"/>
              </a:cxn>
              <a:cxn ang="0">
                <a:pos x="139" y="46"/>
              </a:cxn>
              <a:cxn ang="0">
                <a:pos x="151" y="57"/>
              </a:cxn>
              <a:cxn ang="0">
                <a:pos x="165" y="67"/>
              </a:cxn>
              <a:cxn ang="0">
                <a:pos x="191" y="87"/>
              </a:cxn>
              <a:cxn ang="0">
                <a:pos x="203" y="101"/>
              </a:cxn>
              <a:cxn ang="0">
                <a:pos x="212" y="117"/>
              </a:cxn>
              <a:cxn ang="0">
                <a:pos x="226" y="117"/>
              </a:cxn>
              <a:cxn ang="0">
                <a:pos x="221" y="124"/>
              </a:cxn>
              <a:cxn ang="0">
                <a:pos x="221" y="129"/>
              </a:cxn>
              <a:cxn ang="0">
                <a:pos x="228" y="140"/>
              </a:cxn>
              <a:cxn ang="0">
                <a:pos x="239" y="154"/>
              </a:cxn>
              <a:cxn ang="0">
                <a:pos x="244" y="162"/>
              </a:cxn>
              <a:cxn ang="0">
                <a:pos x="246" y="173"/>
              </a:cxn>
              <a:cxn ang="0">
                <a:pos x="241" y="184"/>
              </a:cxn>
              <a:cxn ang="0">
                <a:pos x="233" y="192"/>
              </a:cxn>
              <a:cxn ang="0">
                <a:pos x="223" y="198"/>
              </a:cxn>
              <a:cxn ang="0">
                <a:pos x="220" y="204"/>
              </a:cxn>
              <a:cxn ang="0">
                <a:pos x="189" y="215"/>
              </a:cxn>
              <a:cxn ang="0">
                <a:pos x="164" y="230"/>
              </a:cxn>
              <a:cxn ang="0">
                <a:pos x="113" y="265"/>
              </a:cxn>
              <a:cxn ang="0">
                <a:pos x="88" y="231"/>
              </a:cxn>
              <a:cxn ang="0">
                <a:pos x="79" y="220"/>
              </a:cxn>
              <a:cxn ang="0">
                <a:pos x="72" y="216"/>
              </a:cxn>
              <a:cxn ang="0">
                <a:pos x="60" y="217"/>
              </a:cxn>
              <a:cxn ang="0">
                <a:pos x="54" y="221"/>
              </a:cxn>
              <a:cxn ang="0">
                <a:pos x="49" y="228"/>
              </a:cxn>
              <a:cxn ang="0">
                <a:pos x="48" y="236"/>
              </a:cxn>
              <a:cxn ang="0">
                <a:pos x="45" y="257"/>
              </a:cxn>
              <a:cxn ang="0">
                <a:pos x="41" y="270"/>
              </a:cxn>
              <a:cxn ang="0">
                <a:pos x="33" y="284"/>
              </a:cxn>
              <a:cxn ang="0">
                <a:pos x="26" y="243"/>
              </a:cxn>
              <a:cxn ang="0">
                <a:pos x="17" y="227"/>
              </a:cxn>
              <a:cxn ang="0">
                <a:pos x="11" y="221"/>
              </a:cxn>
              <a:cxn ang="0">
                <a:pos x="0" y="216"/>
              </a:cxn>
              <a:cxn ang="0">
                <a:pos x="1" y="204"/>
              </a:cxn>
              <a:cxn ang="0">
                <a:pos x="4" y="193"/>
              </a:cxn>
              <a:cxn ang="0">
                <a:pos x="15" y="176"/>
              </a:cxn>
              <a:cxn ang="0">
                <a:pos x="31" y="161"/>
              </a:cxn>
              <a:cxn ang="0">
                <a:pos x="46" y="141"/>
              </a:cxn>
              <a:cxn ang="0">
                <a:pos x="33" y="44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402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5997576" y="2311401"/>
            <a:ext cx="68263" cy="60325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14" y="9"/>
              </a:cxn>
              <a:cxn ang="0">
                <a:pos x="114" y="18"/>
              </a:cxn>
              <a:cxn ang="0">
                <a:pos x="115" y="25"/>
              </a:cxn>
              <a:cxn ang="0">
                <a:pos x="117" y="32"/>
              </a:cxn>
              <a:cxn ang="0">
                <a:pos x="119" y="34"/>
              </a:cxn>
              <a:cxn ang="0">
                <a:pos x="121" y="37"/>
              </a:cxn>
              <a:cxn ang="0">
                <a:pos x="123" y="38"/>
              </a:cxn>
              <a:cxn ang="0">
                <a:pos x="127" y="39"/>
              </a:cxn>
              <a:cxn ang="0">
                <a:pos x="131" y="40"/>
              </a:cxn>
              <a:cxn ang="0">
                <a:pos x="135" y="39"/>
              </a:cxn>
              <a:cxn ang="0">
                <a:pos x="140" y="38"/>
              </a:cxn>
              <a:cxn ang="0">
                <a:pos x="146" y="36"/>
              </a:cxn>
              <a:cxn ang="0">
                <a:pos x="149" y="43"/>
              </a:cxn>
              <a:cxn ang="0">
                <a:pos x="153" y="52"/>
              </a:cxn>
              <a:cxn ang="0">
                <a:pos x="157" y="64"/>
              </a:cxn>
              <a:cxn ang="0">
                <a:pos x="160" y="74"/>
              </a:cxn>
              <a:cxn ang="0">
                <a:pos x="133" y="88"/>
              </a:cxn>
              <a:cxn ang="0">
                <a:pos x="106" y="102"/>
              </a:cxn>
              <a:cxn ang="0">
                <a:pos x="92" y="107"/>
              </a:cxn>
              <a:cxn ang="0">
                <a:pos x="76" y="113"/>
              </a:cxn>
              <a:cxn ang="0">
                <a:pos x="62" y="116"/>
              </a:cxn>
              <a:cxn ang="0">
                <a:pos x="47" y="117"/>
              </a:cxn>
              <a:cxn ang="0">
                <a:pos x="32" y="99"/>
              </a:cxn>
              <a:cxn ang="0">
                <a:pos x="21" y="83"/>
              </a:cxn>
              <a:cxn ang="0">
                <a:pos x="10" y="69"/>
              </a:cxn>
              <a:cxn ang="0">
                <a:pos x="0" y="55"/>
              </a:cxn>
              <a:cxn ang="0">
                <a:pos x="13" y="48"/>
              </a:cxn>
              <a:cxn ang="0">
                <a:pos x="41" y="32"/>
              </a:cxn>
              <a:cxn ang="0">
                <a:pos x="60" y="23"/>
              </a:cxn>
              <a:cxn ang="0">
                <a:pos x="78" y="14"/>
              </a:cxn>
              <a:cxn ang="0">
                <a:pos x="97" y="6"/>
              </a:cxn>
              <a:cxn ang="0">
                <a:pos x="114" y="0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403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6081713" y="2935289"/>
            <a:ext cx="411162" cy="611187"/>
          </a:xfrm>
          <a:custGeom>
            <a:avLst/>
            <a:gdLst/>
            <a:ahLst/>
            <a:cxnLst>
              <a:cxn ang="0">
                <a:pos x="742" y="5"/>
              </a:cxn>
              <a:cxn ang="0">
                <a:pos x="765" y="23"/>
              </a:cxn>
              <a:cxn ang="0">
                <a:pos x="803" y="30"/>
              </a:cxn>
              <a:cxn ang="0">
                <a:pos x="814" y="55"/>
              </a:cxn>
              <a:cxn ang="0">
                <a:pos x="835" y="109"/>
              </a:cxn>
              <a:cxn ang="0">
                <a:pos x="837" y="187"/>
              </a:cxn>
              <a:cxn ang="0">
                <a:pos x="857" y="243"/>
              </a:cxn>
              <a:cxn ang="0">
                <a:pos x="922" y="292"/>
              </a:cxn>
              <a:cxn ang="0">
                <a:pos x="879" y="361"/>
              </a:cxn>
              <a:cxn ang="0">
                <a:pos x="851" y="410"/>
              </a:cxn>
              <a:cxn ang="0">
                <a:pos x="809" y="635"/>
              </a:cxn>
              <a:cxn ang="0">
                <a:pos x="770" y="677"/>
              </a:cxn>
              <a:cxn ang="0">
                <a:pos x="763" y="721"/>
              </a:cxn>
              <a:cxn ang="0">
                <a:pos x="745" y="735"/>
              </a:cxn>
              <a:cxn ang="0">
                <a:pos x="723" y="798"/>
              </a:cxn>
              <a:cxn ang="0">
                <a:pos x="692" y="877"/>
              </a:cxn>
              <a:cxn ang="0">
                <a:pos x="662" y="903"/>
              </a:cxn>
              <a:cxn ang="0">
                <a:pos x="664" y="934"/>
              </a:cxn>
              <a:cxn ang="0">
                <a:pos x="686" y="939"/>
              </a:cxn>
              <a:cxn ang="0">
                <a:pos x="709" y="950"/>
              </a:cxn>
              <a:cxn ang="0">
                <a:pos x="742" y="971"/>
              </a:cxn>
              <a:cxn ang="0">
                <a:pos x="756" y="1007"/>
              </a:cxn>
              <a:cxn ang="0">
                <a:pos x="775" y="1043"/>
              </a:cxn>
              <a:cxn ang="0">
                <a:pos x="803" y="1053"/>
              </a:cxn>
              <a:cxn ang="0">
                <a:pos x="809" y="1094"/>
              </a:cxn>
              <a:cxn ang="0">
                <a:pos x="718" y="1115"/>
              </a:cxn>
              <a:cxn ang="0">
                <a:pos x="687" y="1157"/>
              </a:cxn>
              <a:cxn ang="0">
                <a:pos x="598" y="1170"/>
              </a:cxn>
              <a:cxn ang="0">
                <a:pos x="515" y="1158"/>
              </a:cxn>
              <a:cxn ang="0">
                <a:pos x="464" y="1123"/>
              </a:cxn>
              <a:cxn ang="0">
                <a:pos x="390" y="1125"/>
              </a:cxn>
              <a:cxn ang="0">
                <a:pos x="319" y="1120"/>
              </a:cxn>
              <a:cxn ang="0">
                <a:pos x="297" y="1104"/>
              </a:cxn>
              <a:cxn ang="0">
                <a:pos x="294" y="1075"/>
              </a:cxn>
              <a:cxn ang="0">
                <a:pos x="274" y="1029"/>
              </a:cxn>
              <a:cxn ang="0">
                <a:pos x="216" y="974"/>
              </a:cxn>
              <a:cxn ang="0">
                <a:pos x="193" y="925"/>
              </a:cxn>
              <a:cxn ang="0">
                <a:pos x="152" y="903"/>
              </a:cxn>
              <a:cxn ang="0">
                <a:pos x="120" y="846"/>
              </a:cxn>
              <a:cxn ang="0">
                <a:pos x="97" y="788"/>
              </a:cxn>
              <a:cxn ang="0">
                <a:pos x="65" y="758"/>
              </a:cxn>
              <a:cxn ang="0">
                <a:pos x="33" y="676"/>
              </a:cxn>
              <a:cxn ang="0">
                <a:pos x="4" y="611"/>
              </a:cxn>
              <a:cxn ang="0">
                <a:pos x="18" y="577"/>
              </a:cxn>
              <a:cxn ang="0">
                <a:pos x="29" y="521"/>
              </a:cxn>
              <a:cxn ang="0">
                <a:pos x="64" y="474"/>
              </a:cxn>
              <a:cxn ang="0">
                <a:pos x="113" y="222"/>
              </a:cxn>
              <a:cxn ang="0">
                <a:pos x="123" y="179"/>
              </a:cxn>
              <a:cxn ang="0">
                <a:pos x="153" y="171"/>
              </a:cxn>
              <a:cxn ang="0">
                <a:pos x="160" y="122"/>
              </a:cxn>
              <a:cxn ang="0">
                <a:pos x="159" y="67"/>
              </a:cxn>
              <a:cxn ang="0">
                <a:pos x="679" y="69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404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6565901" y="3275013"/>
            <a:ext cx="244475" cy="431800"/>
          </a:xfrm>
          <a:custGeom>
            <a:avLst/>
            <a:gdLst/>
            <a:ahLst/>
            <a:cxnLst>
              <a:cxn ang="0">
                <a:pos x="98" y="62"/>
              </a:cxn>
              <a:cxn ang="0">
                <a:pos x="112" y="56"/>
              </a:cxn>
              <a:cxn ang="0">
                <a:pos x="129" y="69"/>
              </a:cxn>
              <a:cxn ang="0">
                <a:pos x="149" y="85"/>
              </a:cxn>
              <a:cxn ang="0">
                <a:pos x="171" y="92"/>
              </a:cxn>
              <a:cxn ang="0">
                <a:pos x="215" y="88"/>
              </a:cxn>
              <a:cxn ang="0">
                <a:pos x="257" y="82"/>
              </a:cxn>
              <a:cxn ang="0">
                <a:pos x="291" y="79"/>
              </a:cxn>
              <a:cxn ang="0">
                <a:pos x="301" y="74"/>
              </a:cxn>
              <a:cxn ang="0">
                <a:pos x="301" y="68"/>
              </a:cxn>
              <a:cxn ang="0">
                <a:pos x="355" y="63"/>
              </a:cxn>
              <a:cxn ang="0">
                <a:pos x="434" y="45"/>
              </a:cxn>
              <a:cxn ang="0">
                <a:pos x="479" y="28"/>
              </a:cxn>
              <a:cxn ang="0">
                <a:pos x="514" y="8"/>
              </a:cxn>
              <a:cxn ang="0">
                <a:pos x="547" y="31"/>
              </a:cxn>
              <a:cxn ang="0">
                <a:pos x="555" y="57"/>
              </a:cxn>
              <a:cxn ang="0">
                <a:pos x="552" y="113"/>
              </a:cxn>
              <a:cxn ang="0">
                <a:pos x="532" y="174"/>
              </a:cxn>
              <a:cxn ang="0">
                <a:pos x="502" y="231"/>
              </a:cxn>
              <a:cxn ang="0">
                <a:pos x="447" y="321"/>
              </a:cxn>
              <a:cxn ang="0">
                <a:pos x="423" y="375"/>
              </a:cxn>
              <a:cxn ang="0">
                <a:pos x="410" y="415"/>
              </a:cxn>
              <a:cxn ang="0">
                <a:pos x="379" y="473"/>
              </a:cxn>
              <a:cxn ang="0">
                <a:pos x="330" y="531"/>
              </a:cxn>
              <a:cxn ang="0">
                <a:pos x="288" y="566"/>
              </a:cxn>
              <a:cxn ang="0">
                <a:pos x="239" y="600"/>
              </a:cxn>
              <a:cxn ang="0">
                <a:pos x="168" y="651"/>
              </a:cxn>
              <a:cxn ang="0">
                <a:pos x="143" y="680"/>
              </a:cxn>
              <a:cxn ang="0">
                <a:pos x="131" y="700"/>
              </a:cxn>
              <a:cxn ang="0">
                <a:pos x="116" y="717"/>
              </a:cxn>
              <a:cxn ang="0">
                <a:pos x="71" y="745"/>
              </a:cxn>
              <a:cxn ang="0">
                <a:pos x="19" y="801"/>
              </a:cxn>
              <a:cxn ang="0">
                <a:pos x="2" y="564"/>
              </a:cxn>
              <a:cxn ang="0">
                <a:pos x="3" y="554"/>
              </a:cxn>
              <a:cxn ang="0">
                <a:pos x="27" y="533"/>
              </a:cxn>
              <a:cxn ang="0">
                <a:pos x="42" y="516"/>
              </a:cxn>
              <a:cxn ang="0">
                <a:pos x="60" y="497"/>
              </a:cxn>
              <a:cxn ang="0">
                <a:pos x="111" y="480"/>
              </a:cxn>
              <a:cxn ang="0">
                <a:pos x="119" y="470"/>
              </a:cxn>
              <a:cxn ang="0">
                <a:pos x="129" y="452"/>
              </a:cxn>
              <a:cxn ang="0">
                <a:pos x="152" y="440"/>
              </a:cxn>
              <a:cxn ang="0">
                <a:pos x="174" y="439"/>
              </a:cxn>
              <a:cxn ang="0">
                <a:pos x="196" y="439"/>
              </a:cxn>
              <a:cxn ang="0">
                <a:pos x="228" y="429"/>
              </a:cxn>
              <a:cxn ang="0">
                <a:pos x="251" y="405"/>
              </a:cxn>
              <a:cxn ang="0">
                <a:pos x="265" y="379"/>
              </a:cxn>
              <a:cxn ang="0">
                <a:pos x="296" y="347"/>
              </a:cxn>
              <a:cxn ang="0">
                <a:pos x="354" y="293"/>
              </a:cxn>
              <a:cxn ang="0">
                <a:pos x="377" y="266"/>
              </a:cxn>
              <a:cxn ang="0">
                <a:pos x="324" y="246"/>
              </a:cxn>
              <a:cxn ang="0">
                <a:pos x="257" y="228"/>
              </a:cxn>
              <a:cxn ang="0">
                <a:pos x="184" y="209"/>
              </a:cxn>
              <a:cxn ang="0">
                <a:pos x="149" y="187"/>
              </a:cxn>
              <a:cxn ang="0">
                <a:pos x="112" y="154"/>
              </a:cxn>
              <a:cxn ang="0">
                <a:pos x="89" y="121"/>
              </a:cxn>
              <a:cxn ang="0">
                <a:pos x="77" y="80"/>
              </a:cxn>
              <a:cxn ang="0">
                <a:pos x="65" y="87"/>
              </a:cxn>
              <a:cxn ang="0">
                <a:pos x="84" y="68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405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6573838" y="3262314"/>
            <a:ext cx="38100" cy="58737"/>
          </a:xfrm>
          <a:custGeom>
            <a:avLst/>
            <a:gdLst/>
            <a:ahLst/>
            <a:cxnLst>
              <a:cxn ang="0">
                <a:pos x="59" y="0"/>
              </a:cxn>
              <a:cxn ang="0">
                <a:pos x="56" y="2"/>
              </a:cxn>
              <a:cxn ang="0">
                <a:pos x="52" y="3"/>
              </a:cxn>
              <a:cxn ang="0">
                <a:pos x="46" y="3"/>
              </a:cxn>
              <a:cxn ang="0">
                <a:pos x="40" y="3"/>
              </a:cxn>
              <a:cxn ang="0">
                <a:pos x="33" y="3"/>
              </a:cxn>
              <a:cxn ang="0">
                <a:pos x="27" y="3"/>
              </a:cxn>
              <a:cxn ang="0">
                <a:pos x="23" y="4"/>
              </a:cxn>
              <a:cxn ang="0">
                <a:pos x="20" y="6"/>
              </a:cxn>
              <a:cxn ang="0">
                <a:pos x="16" y="9"/>
              </a:cxn>
              <a:cxn ang="0">
                <a:pos x="13" y="12"/>
              </a:cxn>
              <a:cxn ang="0">
                <a:pos x="11" y="15"/>
              </a:cxn>
              <a:cxn ang="0">
                <a:pos x="8" y="20"/>
              </a:cxn>
              <a:cxn ang="0">
                <a:pos x="4" y="29"/>
              </a:cxn>
              <a:cxn ang="0">
                <a:pos x="2" y="38"/>
              </a:cxn>
              <a:cxn ang="0">
                <a:pos x="0" y="57"/>
              </a:cxn>
              <a:cxn ang="0">
                <a:pos x="0" y="75"/>
              </a:cxn>
              <a:cxn ang="0">
                <a:pos x="0" y="81"/>
              </a:cxn>
              <a:cxn ang="0">
                <a:pos x="1" y="86"/>
              </a:cxn>
              <a:cxn ang="0">
                <a:pos x="3" y="90"/>
              </a:cxn>
              <a:cxn ang="0">
                <a:pos x="7" y="93"/>
              </a:cxn>
              <a:cxn ang="0">
                <a:pos x="10" y="95"/>
              </a:cxn>
              <a:cxn ang="0">
                <a:pos x="13" y="96"/>
              </a:cxn>
              <a:cxn ang="0">
                <a:pos x="18" y="97"/>
              </a:cxn>
              <a:cxn ang="0">
                <a:pos x="21" y="97"/>
              </a:cxn>
              <a:cxn ang="0">
                <a:pos x="40" y="95"/>
              </a:cxn>
              <a:cxn ang="0">
                <a:pos x="53" y="93"/>
              </a:cxn>
              <a:cxn ang="0">
                <a:pos x="86" y="68"/>
              </a:cxn>
              <a:cxn ang="0">
                <a:pos x="59" y="0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406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6372225" y="3173414"/>
            <a:ext cx="363538" cy="376237"/>
          </a:xfrm>
          <a:custGeom>
            <a:avLst/>
            <a:gdLst/>
            <a:ahLst/>
            <a:cxnLst>
              <a:cxn ang="0">
                <a:pos x="182" y="36"/>
              </a:cxn>
              <a:cxn ang="0">
                <a:pos x="205" y="28"/>
              </a:cxn>
              <a:cxn ang="0">
                <a:pos x="247" y="0"/>
              </a:cxn>
              <a:cxn ang="0">
                <a:pos x="273" y="12"/>
              </a:cxn>
              <a:cxn ang="0">
                <a:pos x="327" y="37"/>
              </a:cxn>
              <a:cxn ang="0">
                <a:pos x="380" y="67"/>
              </a:cxn>
              <a:cxn ang="0">
                <a:pos x="426" y="98"/>
              </a:cxn>
              <a:cxn ang="0">
                <a:pos x="442" y="125"/>
              </a:cxn>
              <a:cxn ang="0">
                <a:pos x="443" y="140"/>
              </a:cxn>
              <a:cxn ang="0">
                <a:pos x="458" y="147"/>
              </a:cxn>
              <a:cxn ang="0">
                <a:pos x="499" y="178"/>
              </a:cxn>
              <a:cxn ang="0">
                <a:pos x="506" y="172"/>
              </a:cxn>
              <a:cxn ang="0">
                <a:pos x="488" y="184"/>
              </a:cxn>
              <a:cxn ang="0">
                <a:pos x="481" y="202"/>
              </a:cxn>
              <a:cxn ang="0">
                <a:pos x="481" y="252"/>
              </a:cxn>
              <a:cxn ang="0">
                <a:pos x="493" y="264"/>
              </a:cxn>
              <a:cxn ang="0">
                <a:pos x="526" y="265"/>
              </a:cxn>
              <a:cxn ang="0">
                <a:pos x="545" y="319"/>
              </a:cxn>
              <a:cxn ang="0">
                <a:pos x="583" y="361"/>
              </a:cxn>
              <a:cxn ang="0">
                <a:pos x="645" y="400"/>
              </a:cxn>
              <a:cxn ang="0">
                <a:pos x="738" y="430"/>
              </a:cxn>
              <a:cxn ang="0">
                <a:pos x="845" y="449"/>
              </a:cxn>
              <a:cxn ang="0">
                <a:pos x="811" y="482"/>
              </a:cxn>
              <a:cxn ang="0">
                <a:pos x="731" y="547"/>
              </a:cxn>
              <a:cxn ang="0">
                <a:pos x="712" y="579"/>
              </a:cxn>
              <a:cxn ang="0">
                <a:pos x="697" y="617"/>
              </a:cxn>
              <a:cxn ang="0">
                <a:pos x="674" y="629"/>
              </a:cxn>
              <a:cxn ang="0">
                <a:pos x="580" y="655"/>
              </a:cxn>
              <a:cxn ang="0">
                <a:pos x="559" y="671"/>
              </a:cxn>
              <a:cxn ang="0">
                <a:pos x="525" y="681"/>
              </a:cxn>
              <a:cxn ang="0">
                <a:pos x="482" y="693"/>
              </a:cxn>
              <a:cxn ang="0">
                <a:pos x="461" y="680"/>
              </a:cxn>
              <a:cxn ang="0">
                <a:pos x="427" y="679"/>
              </a:cxn>
              <a:cxn ang="0">
                <a:pos x="405" y="699"/>
              </a:cxn>
              <a:cxn ang="0">
                <a:pos x="390" y="714"/>
              </a:cxn>
              <a:cxn ang="0">
                <a:pos x="360" y="720"/>
              </a:cxn>
              <a:cxn ang="0">
                <a:pos x="318" y="714"/>
              </a:cxn>
              <a:cxn ang="0">
                <a:pos x="289" y="698"/>
              </a:cxn>
              <a:cxn ang="0">
                <a:pos x="246" y="671"/>
              </a:cxn>
              <a:cxn ang="0">
                <a:pos x="181" y="661"/>
              </a:cxn>
              <a:cxn ang="0">
                <a:pos x="140" y="653"/>
              </a:cxn>
              <a:cxn ang="0">
                <a:pos x="151" y="614"/>
              </a:cxn>
              <a:cxn ang="0">
                <a:pos x="127" y="596"/>
              </a:cxn>
              <a:cxn ang="0">
                <a:pos x="108" y="583"/>
              </a:cxn>
              <a:cxn ang="0">
                <a:pos x="93" y="551"/>
              </a:cxn>
              <a:cxn ang="0">
                <a:pos x="77" y="511"/>
              </a:cxn>
              <a:cxn ang="0">
                <a:pos x="49" y="489"/>
              </a:cxn>
              <a:cxn ang="0">
                <a:pos x="16" y="477"/>
              </a:cxn>
              <a:cxn ang="0">
                <a:pos x="5" y="472"/>
              </a:cxn>
              <a:cxn ang="0">
                <a:pos x="2" y="448"/>
              </a:cxn>
              <a:cxn ang="0">
                <a:pos x="21" y="422"/>
              </a:cxn>
              <a:cxn ang="0">
                <a:pos x="55" y="413"/>
              </a:cxn>
              <a:cxn ang="0">
                <a:pos x="67" y="321"/>
              </a:cxn>
              <a:cxn ang="0">
                <a:pos x="82" y="275"/>
              </a:cxn>
              <a:cxn ang="0">
                <a:pos x="95" y="260"/>
              </a:cxn>
              <a:cxn ang="0">
                <a:pos x="103" y="236"/>
              </a:cxn>
              <a:cxn ang="0">
                <a:pos x="116" y="206"/>
              </a:cxn>
              <a:cxn ang="0">
                <a:pos x="148" y="178"/>
              </a:cxn>
              <a:cxn ang="0">
                <a:pos x="167" y="160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407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3232151" y="369252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408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3232150" y="3700464"/>
            <a:ext cx="12700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1"/>
              </a:cxn>
              <a:cxn ang="0">
                <a:pos x="15" y="3"/>
              </a:cxn>
              <a:cxn ang="0">
                <a:pos x="23" y="5"/>
              </a:cxn>
              <a:cxn ang="0">
                <a:pos x="33" y="6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409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3240088" y="3687763"/>
            <a:ext cx="4762" cy="57150"/>
          </a:xfrm>
          <a:custGeom>
            <a:avLst/>
            <a:gdLst/>
            <a:ahLst/>
            <a:cxnLst>
              <a:cxn ang="0">
                <a:pos x="13" y="30"/>
              </a:cxn>
              <a:cxn ang="0">
                <a:pos x="13" y="0"/>
              </a:cxn>
              <a:cxn ang="0">
                <a:pos x="0" y="0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grpSp>
        <p:nvGrpSpPr>
          <p:cNvPr id="2410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3232151" y="3622676"/>
            <a:ext cx="417513" cy="201613"/>
            <a:chOff x="912" y="2626"/>
            <a:chExt cx="311" cy="127"/>
          </a:xfrm>
        </p:grpSpPr>
        <p:sp>
          <p:nvSpPr>
            <p:cNvPr id="2411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/>
              <a:ahLst/>
              <a:cxnLst>
                <a:cxn ang="0">
                  <a:pos x="312" y="79"/>
                </a:cxn>
                <a:cxn ang="0">
                  <a:pos x="286" y="79"/>
                </a:cxn>
                <a:cxn ang="0">
                  <a:pos x="265" y="79"/>
                </a:cxn>
                <a:cxn ang="0">
                  <a:pos x="249" y="74"/>
                </a:cxn>
                <a:cxn ang="0">
                  <a:pos x="222" y="59"/>
                </a:cxn>
                <a:cxn ang="0">
                  <a:pos x="168" y="20"/>
                </a:cxn>
                <a:cxn ang="0">
                  <a:pos x="137" y="6"/>
                </a:cxn>
                <a:cxn ang="0">
                  <a:pos x="129" y="19"/>
                </a:cxn>
                <a:cxn ang="0">
                  <a:pos x="119" y="29"/>
                </a:cxn>
                <a:cxn ang="0">
                  <a:pos x="107" y="35"/>
                </a:cxn>
                <a:cxn ang="0">
                  <a:pos x="86" y="56"/>
                </a:cxn>
                <a:cxn ang="0">
                  <a:pos x="53" y="97"/>
                </a:cxn>
                <a:cxn ang="0">
                  <a:pos x="30" y="131"/>
                </a:cxn>
                <a:cxn ang="0">
                  <a:pos x="17" y="154"/>
                </a:cxn>
                <a:cxn ang="0">
                  <a:pos x="7" y="177"/>
                </a:cxn>
                <a:cxn ang="0">
                  <a:pos x="0" y="198"/>
                </a:cxn>
                <a:cxn ang="0">
                  <a:pos x="0" y="213"/>
                </a:cxn>
                <a:cxn ang="0">
                  <a:pos x="3" y="222"/>
                </a:cxn>
                <a:cxn ang="0">
                  <a:pos x="9" y="231"/>
                </a:cxn>
                <a:cxn ang="0">
                  <a:pos x="24" y="241"/>
                </a:cxn>
                <a:cxn ang="0">
                  <a:pos x="39" y="245"/>
                </a:cxn>
                <a:cxn ang="0">
                  <a:pos x="52" y="245"/>
                </a:cxn>
                <a:cxn ang="0">
                  <a:pos x="63" y="241"/>
                </a:cxn>
                <a:cxn ang="0">
                  <a:pos x="73" y="236"/>
                </a:cxn>
                <a:cxn ang="0">
                  <a:pos x="78" y="236"/>
                </a:cxn>
                <a:cxn ang="0">
                  <a:pos x="80" y="238"/>
                </a:cxn>
                <a:cxn ang="0">
                  <a:pos x="80" y="257"/>
                </a:cxn>
                <a:cxn ang="0">
                  <a:pos x="76" y="279"/>
                </a:cxn>
                <a:cxn ang="0">
                  <a:pos x="71" y="290"/>
                </a:cxn>
                <a:cxn ang="0">
                  <a:pos x="73" y="307"/>
                </a:cxn>
                <a:cxn ang="0">
                  <a:pos x="80" y="331"/>
                </a:cxn>
                <a:cxn ang="0">
                  <a:pos x="89" y="351"/>
                </a:cxn>
                <a:cxn ang="0">
                  <a:pos x="122" y="373"/>
                </a:cxn>
                <a:cxn ang="0">
                  <a:pos x="142" y="385"/>
                </a:cxn>
                <a:cxn ang="0">
                  <a:pos x="152" y="386"/>
                </a:cxn>
                <a:cxn ang="0">
                  <a:pos x="163" y="377"/>
                </a:cxn>
                <a:cxn ang="0">
                  <a:pos x="173" y="363"/>
                </a:cxn>
                <a:cxn ang="0">
                  <a:pos x="178" y="350"/>
                </a:cxn>
                <a:cxn ang="0">
                  <a:pos x="181" y="338"/>
                </a:cxn>
                <a:cxn ang="0">
                  <a:pos x="184" y="323"/>
                </a:cxn>
                <a:cxn ang="0">
                  <a:pos x="195" y="304"/>
                </a:cxn>
                <a:cxn ang="0">
                  <a:pos x="216" y="281"/>
                </a:cxn>
                <a:cxn ang="0">
                  <a:pos x="238" y="263"/>
                </a:cxn>
                <a:cxn ang="0">
                  <a:pos x="264" y="249"/>
                </a:cxn>
                <a:cxn ang="0">
                  <a:pos x="300" y="229"/>
                </a:cxn>
                <a:cxn ang="0">
                  <a:pos x="324" y="212"/>
                </a:cxn>
                <a:cxn ang="0">
                  <a:pos x="338" y="199"/>
                </a:cxn>
                <a:cxn ang="0">
                  <a:pos x="346" y="185"/>
                </a:cxn>
                <a:cxn ang="0">
                  <a:pos x="352" y="169"/>
                </a:cxn>
                <a:cxn ang="0">
                  <a:pos x="351" y="149"/>
                </a:cxn>
                <a:cxn ang="0">
                  <a:pos x="344" y="125"/>
                </a:cxn>
                <a:cxn ang="0">
                  <a:pos x="330" y="91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12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20" y="0"/>
                </a:cxn>
                <a:cxn ang="0">
                  <a:pos x="25" y="2"/>
                </a:cxn>
                <a:cxn ang="0">
                  <a:pos x="30" y="6"/>
                </a:cxn>
                <a:cxn ang="0">
                  <a:pos x="36" y="9"/>
                </a:cxn>
                <a:cxn ang="0">
                  <a:pos x="40" y="13"/>
                </a:cxn>
                <a:cxn ang="0">
                  <a:pos x="45" y="17"/>
                </a:cxn>
                <a:cxn ang="0">
                  <a:pos x="47" y="21"/>
                </a:cxn>
                <a:cxn ang="0">
                  <a:pos x="48" y="24"/>
                </a:cxn>
                <a:cxn ang="0">
                  <a:pos x="51" y="34"/>
                </a:cxn>
                <a:cxn ang="0">
                  <a:pos x="52" y="41"/>
                </a:cxn>
                <a:cxn ang="0">
                  <a:pos x="51" y="46"/>
                </a:cxn>
                <a:cxn ang="0">
                  <a:pos x="49" y="50"/>
                </a:cxn>
                <a:cxn ang="0">
                  <a:pos x="47" y="54"/>
                </a:cxn>
                <a:cxn ang="0">
                  <a:pos x="44" y="60"/>
                </a:cxn>
                <a:cxn ang="0">
                  <a:pos x="41" y="65"/>
                </a:cxn>
                <a:cxn ang="0">
                  <a:pos x="41" y="73"/>
                </a:cxn>
                <a:cxn ang="0">
                  <a:pos x="29" y="75"/>
                </a:cxn>
                <a:cxn ang="0">
                  <a:pos x="16" y="78"/>
                </a:cxn>
                <a:cxn ang="0">
                  <a:pos x="11" y="78"/>
                </a:cxn>
                <a:cxn ang="0">
                  <a:pos x="5" y="78"/>
                </a:cxn>
                <a:cxn ang="0">
                  <a:pos x="4" y="78"/>
                </a:cxn>
                <a:cxn ang="0">
                  <a:pos x="2" y="77"/>
                </a:cxn>
                <a:cxn ang="0">
                  <a:pos x="2" y="75"/>
                </a:cxn>
                <a:cxn ang="0">
                  <a:pos x="1" y="73"/>
                </a:cxn>
                <a:cxn ang="0">
                  <a:pos x="0" y="69"/>
                </a:cxn>
                <a:cxn ang="0">
                  <a:pos x="1" y="64"/>
                </a:cxn>
                <a:cxn ang="0">
                  <a:pos x="3" y="60"/>
                </a:cxn>
                <a:cxn ang="0">
                  <a:pos x="7" y="56"/>
                </a:cxn>
                <a:cxn ang="0">
                  <a:pos x="17" y="47"/>
                </a:cxn>
                <a:cxn ang="0">
                  <a:pos x="28" y="42"/>
                </a:cxn>
                <a:cxn ang="0">
                  <a:pos x="24" y="32"/>
                </a:cxn>
                <a:cxn ang="0">
                  <a:pos x="21" y="21"/>
                </a:cxn>
                <a:cxn ang="0">
                  <a:pos x="18" y="10"/>
                </a:cxn>
                <a:cxn ang="0">
                  <a:pos x="14" y="0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13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/>
              <a:ahLst/>
              <a:cxnLst>
                <a:cxn ang="0">
                  <a:pos x="13" y="6"/>
                </a:cxn>
                <a:cxn ang="0">
                  <a:pos x="0" y="24"/>
                </a:cxn>
                <a:cxn ang="0">
                  <a:pos x="7" y="25"/>
                </a:cxn>
                <a:cxn ang="0">
                  <a:pos x="15" y="27"/>
                </a:cxn>
                <a:cxn ang="0">
                  <a:pos x="23" y="29"/>
                </a:cxn>
                <a:cxn ang="0">
                  <a:pos x="33" y="30"/>
                </a:cxn>
                <a:cxn ang="0">
                  <a:pos x="33" y="0"/>
                </a:cxn>
                <a:cxn ang="0">
                  <a:pos x="20" y="0"/>
                </a:cxn>
                <a:cxn ang="0">
                  <a:pos x="13" y="6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2414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6880225" y="4340225"/>
            <a:ext cx="19050" cy="58738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25" y="0"/>
              </a:cxn>
              <a:cxn ang="0">
                <a:pos x="31" y="2"/>
              </a:cxn>
              <a:cxn ang="0">
                <a:pos x="33" y="4"/>
              </a:cxn>
              <a:cxn ang="0">
                <a:pos x="33" y="6"/>
              </a:cxn>
              <a:cxn ang="0">
                <a:pos x="32" y="8"/>
              </a:cxn>
              <a:cxn ang="0">
                <a:pos x="33" y="10"/>
              </a:cxn>
              <a:cxn ang="0">
                <a:pos x="37" y="12"/>
              </a:cxn>
              <a:cxn ang="0">
                <a:pos x="47" y="12"/>
              </a:cxn>
              <a:cxn ang="0">
                <a:pos x="42" y="19"/>
              </a:cxn>
              <a:cxn ang="0">
                <a:pos x="37" y="25"/>
              </a:cxn>
              <a:cxn ang="0">
                <a:pos x="33" y="27"/>
              </a:cxn>
              <a:cxn ang="0">
                <a:pos x="28" y="28"/>
              </a:cxn>
              <a:cxn ang="0">
                <a:pos x="16" y="27"/>
              </a:cxn>
              <a:cxn ang="0">
                <a:pos x="0" y="25"/>
              </a:cxn>
              <a:cxn ang="0">
                <a:pos x="1" y="19"/>
              </a:cxn>
              <a:cxn ang="0">
                <a:pos x="2" y="15"/>
              </a:cxn>
              <a:cxn ang="0">
                <a:pos x="4" y="13"/>
              </a:cxn>
              <a:cxn ang="0">
                <a:pos x="6" y="12"/>
              </a:cxn>
              <a:cxn ang="0">
                <a:pos x="9" y="11"/>
              </a:cxn>
              <a:cxn ang="0">
                <a:pos x="11" y="9"/>
              </a:cxn>
              <a:cxn ang="0">
                <a:pos x="13" y="5"/>
              </a:cxn>
              <a:cxn ang="0">
                <a:pos x="13" y="0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415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6851651" y="4367213"/>
            <a:ext cx="23813" cy="57150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26" y="1"/>
              </a:cxn>
              <a:cxn ang="0">
                <a:pos x="34" y="1"/>
              </a:cxn>
              <a:cxn ang="0">
                <a:pos x="37" y="3"/>
              </a:cxn>
              <a:cxn ang="0">
                <a:pos x="37" y="4"/>
              </a:cxn>
              <a:cxn ang="0">
                <a:pos x="37" y="6"/>
              </a:cxn>
              <a:cxn ang="0">
                <a:pos x="39" y="8"/>
              </a:cxn>
              <a:cxn ang="0">
                <a:pos x="44" y="10"/>
              </a:cxn>
              <a:cxn ang="0">
                <a:pos x="53" y="12"/>
              </a:cxn>
              <a:cxn ang="0">
                <a:pos x="48" y="22"/>
              </a:cxn>
              <a:cxn ang="0">
                <a:pos x="44" y="28"/>
              </a:cxn>
              <a:cxn ang="0">
                <a:pos x="42" y="31"/>
              </a:cxn>
              <a:cxn ang="0">
                <a:pos x="38" y="32"/>
              </a:cxn>
              <a:cxn ang="0">
                <a:pos x="36" y="33"/>
              </a:cxn>
              <a:cxn ang="0">
                <a:pos x="34" y="33"/>
              </a:cxn>
              <a:cxn ang="0">
                <a:pos x="20" y="30"/>
              </a:cxn>
              <a:cxn ang="0">
                <a:pos x="0" y="24"/>
              </a:cxn>
              <a:cxn ang="0">
                <a:pos x="0" y="19"/>
              </a:cxn>
              <a:cxn ang="0">
                <a:pos x="2" y="16"/>
              </a:cxn>
              <a:cxn ang="0">
                <a:pos x="4" y="14"/>
              </a:cxn>
              <a:cxn ang="0">
                <a:pos x="7" y="12"/>
              </a:cxn>
              <a:cxn ang="0">
                <a:pos x="9" y="11"/>
              </a:cxn>
              <a:cxn ang="0">
                <a:pos x="11" y="9"/>
              </a:cxn>
              <a:cxn ang="0">
                <a:pos x="12" y="6"/>
              </a:cxn>
              <a:cxn ang="0">
                <a:pos x="13" y="0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grpSp>
        <p:nvGrpSpPr>
          <p:cNvPr id="2416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6692901" y="3859214"/>
            <a:ext cx="168275" cy="103187"/>
            <a:chOff x="3481" y="2773"/>
            <a:chExt cx="125" cy="65"/>
          </a:xfrm>
        </p:grpSpPr>
        <p:sp>
          <p:nvSpPr>
            <p:cNvPr id="2417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0" y="9"/>
                </a:cxn>
                <a:cxn ang="0">
                  <a:pos x="6" y="18"/>
                </a:cxn>
                <a:cxn ang="0">
                  <a:pos x="5" y="17"/>
                </a:cxn>
                <a:cxn ang="0">
                  <a:pos x="3" y="14"/>
                </a:cxn>
                <a:cxn ang="0">
                  <a:pos x="1" y="10"/>
                </a:cxn>
                <a:cxn ang="0">
                  <a:pos x="0" y="6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18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19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0" y="0"/>
                </a:cxn>
                <a:cxn ang="0">
                  <a:pos x="14" y="19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20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18"/>
                </a:cxn>
                <a:cxn ang="0">
                  <a:pos x="0" y="18"/>
                </a:cxn>
                <a:cxn ang="0">
                  <a:pos x="0" y="0"/>
                </a:cxn>
                <a:cxn ang="0">
                  <a:pos x="7" y="0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21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/>
              <a:ahLst/>
              <a:cxnLst>
                <a:cxn ang="0">
                  <a:pos x="20" y="12"/>
                </a:cxn>
                <a:cxn ang="0">
                  <a:pos x="10" y="9"/>
                </a:cxn>
                <a:cxn ang="0">
                  <a:pos x="0" y="6"/>
                </a:cxn>
                <a:cxn ang="0">
                  <a:pos x="1" y="5"/>
                </a:cxn>
                <a:cxn ang="0">
                  <a:pos x="3" y="3"/>
                </a:cxn>
                <a:cxn ang="0">
                  <a:pos x="8" y="1"/>
                </a:cxn>
                <a:cxn ang="0">
                  <a:pos x="13" y="0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22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23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20" y="18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24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/>
              <a:ahLst/>
              <a:cxnLst>
                <a:cxn ang="0">
                  <a:pos x="7" y="12"/>
                </a:cxn>
                <a:cxn ang="0">
                  <a:pos x="4" y="6"/>
                </a:cxn>
                <a:cxn ang="0">
                  <a:pos x="0" y="0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25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20" y="18"/>
                </a:cxn>
                <a:cxn ang="0">
                  <a:pos x="17" y="12"/>
                </a:cxn>
                <a:cxn ang="0">
                  <a:pos x="13" y="6"/>
                </a:cxn>
                <a:cxn ang="0">
                  <a:pos x="0" y="0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26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18"/>
                </a:cxn>
                <a:cxn ang="0">
                  <a:pos x="0" y="18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0" y="6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27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0" y="9"/>
                </a:cxn>
                <a:cxn ang="0">
                  <a:pos x="6" y="18"/>
                </a:cxn>
                <a:cxn ang="0">
                  <a:pos x="5" y="17"/>
                </a:cxn>
                <a:cxn ang="0">
                  <a:pos x="3" y="14"/>
                </a:cxn>
                <a:cxn ang="0">
                  <a:pos x="1" y="10"/>
                </a:cxn>
                <a:cxn ang="0">
                  <a:pos x="0" y="6"/>
                </a:cxn>
                <a:cxn ang="0">
                  <a:pos x="6" y="6"/>
                </a:cxn>
                <a:cxn ang="0">
                  <a:pos x="13" y="0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2428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5821364" y="3851276"/>
            <a:ext cx="319087" cy="379413"/>
          </a:xfrm>
          <a:custGeom>
            <a:avLst/>
            <a:gdLst/>
            <a:ahLst/>
            <a:cxnLst>
              <a:cxn ang="0">
                <a:pos x="60" y="685"/>
              </a:cxn>
              <a:cxn ang="0">
                <a:pos x="91" y="668"/>
              </a:cxn>
              <a:cxn ang="0">
                <a:pos x="126" y="668"/>
              </a:cxn>
              <a:cxn ang="0">
                <a:pos x="196" y="692"/>
              </a:cxn>
              <a:cxn ang="0">
                <a:pos x="245" y="705"/>
              </a:cxn>
              <a:cxn ang="0">
                <a:pos x="292" y="703"/>
              </a:cxn>
              <a:cxn ang="0">
                <a:pos x="611" y="717"/>
              </a:cxn>
              <a:cxn ang="0">
                <a:pos x="651" y="707"/>
              </a:cxn>
              <a:cxn ang="0">
                <a:pos x="627" y="657"/>
              </a:cxn>
              <a:cxn ang="0">
                <a:pos x="664" y="433"/>
              </a:cxn>
              <a:cxn ang="0">
                <a:pos x="709" y="429"/>
              </a:cxn>
              <a:cxn ang="0">
                <a:pos x="723" y="416"/>
              </a:cxn>
              <a:cxn ang="0">
                <a:pos x="734" y="360"/>
              </a:cxn>
              <a:cxn ang="0">
                <a:pos x="722" y="302"/>
              </a:cxn>
              <a:cxn ang="0">
                <a:pos x="708" y="304"/>
              </a:cxn>
              <a:cxn ang="0">
                <a:pos x="676" y="300"/>
              </a:cxn>
              <a:cxn ang="0">
                <a:pos x="634" y="299"/>
              </a:cxn>
              <a:cxn ang="0">
                <a:pos x="623" y="290"/>
              </a:cxn>
              <a:cxn ang="0">
                <a:pos x="617" y="253"/>
              </a:cxn>
              <a:cxn ang="0">
                <a:pos x="607" y="219"/>
              </a:cxn>
              <a:cxn ang="0">
                <a:pos x="597" y="186"/>
              </a:cxn>
              <a:cxn ang="0">
                <a:pos x="607" y="167"/>
              </a:cxn>
              <a:cxn ang="0">
                <a:pos x="617" y="148"/>
              </a:cxn>
              <a:cxn ang="0">
                <a:pos x="611" y="100"/>
              </a:cxn>
              <a:cxn ang="0">
                <a:pos x="544" y="70"/>
              </a:cxn>
              <a:cxn ang="0">
                <a:pos x="477" y="66"/>
              </a:cxn>
              <a:cxn ang="0">
                <a:pos x="471" y="81"/>
              </a:cxn>
              <a:cxn ang="0">
                <a:pos x="463" y="101"/>
              </a:cxn>
              <a:cxn ang="0">
                <a:pos x="440" y="122"/>
              </a:cxn>
              <a:cxn ang="0">
                <a:pos x="392" y="130"/>
              </a:cxn>
              <a:cxn ang="0">
                <a:pos x="364" y="115"/>
              </a:cxn>
              <a:cxn ang="0">
                <a:pos x="339" y="82"/>
              </a:cxn>
              <a:cxn ang="0">
                <a:pos x="319" y="39"/>
              </a:cxn>
              <a:cxn ang="0">
                <a:pos x="312" y="0"/>
              </a:cxn>
              <a:cxn ang="0">
                <a:pos x="30" y="15"/>
              </a:cxn>
              <a:cxn ang="0">
                <a:pos x="47" y="29"/>
              </a:cxn>
              <a:cxn ang="0">
                <a:pos x="75" y="75"/>
              </a:cxn>
              <a:cxn ang="0">
                <a:pos x="102" y="130"/>
              </a:cxn>
              <a:cxn ang="0">
                <a:pos x="103" y="171"/>
              </a:cxn>
              <a:cxn ang="0">
                <a:pos x="93" y="203"/>
              </a:cxn>
              <a:cxn ang="0">
                <a:pos x="96" y="229"/>
              </a:cxn>
              <a:cxn ang="0">
                <a:pos x="119" y="272"/>
              </a:cxn>
              <a:cxn ang="0">
                <a:pos x="131" y="307"/>
              </a:cxn>
              <a:cxn ang="0">
                <a:pos x="127" y="352"/>
              </a:cxn>
              <a:cxn ang="0">
                <a:pos x="106" y="403"/>
              </a:cxn>
              <a:cxn ang="0">
                <a:pos x="77" y="446"/>
              </a:cxn>
              <a:cxn ang="0">
                <a:pos x="41" y="477"/>
              </a:cxn>
              <a:cxn ang="0">
                <a:pos x="25" y="591"/>
              </a:cxn>
              <a:cxn ang="0">
                <a:pos x="11" y="62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429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5832476" y="3824289"/>
            <a:ext cx="15875" cy="60325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12" y="28"/>
              </a:cxn>
              <a:cxn ang="0">
                <a:pos x="22" y="28"/>
              </a:cxn>
              <a:cxn ang="0">
                <a:pos x="26" y="28"/>
              </a:cxn>
              <a:cxn ang="0">
                <a:pos x="30" y="28"/>
              </a:cxn>
              <a:cxn ang="0">
                <a:pos x="35" y="27"/>
              </a:cxn>
              <a:cxn ang="0">
                <a:pos x="39" y="25"/>
              </a:cxn>
              <a:cxn ang="0">
                <a:pos x="39" y="0"/>
              </a:cxn>
              <a:cxn ang="0">
                <a:pos x="26" y="0"/>
              </a:cxn>
              <a:cxn ang="0">
                <a:pos x="17" y="0"/>
              </a:cxn>
              <a:cxn ang="0">
                <a:pos x="8" y="0"/>
              </a:cxn>
              <a:cxn ang="0">
                <a:pos x="0" y="0"/>
              </a:cxn>
              <a:cxn ang="0">
                <a:pos x="0" y="31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430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5934076" y="4367213"/>
            <a:ext cx="396875" cy="398462"/>
          </a:xfrm>
          <a:custGeom>
            <a:avLst/>
            <a:gdLst/>
            <a:ahLst/>
            <a:cxnLst>
              <a:cxn ang="0">
                <a:pos x="899" y="291"/>
              </a:cxn>
              <a:cxn ang="0">
                <a:pos x="863" y="388"/>
              </a:cxn>
              <a:cxn ang="0">
                <a:pos x="832" y="414"/>
              </a:cxn>
              <a:cxn ang="0">
                <a:pos x="761" y="507"/>
              </a:cxn>
              <a:cxn ang="0">
                <a:pos x="720" y="561"/>
              </a:cxn>
              <a:cxn ang="0">
                <a:pos x="647" y="613"/>
              </a:cxn>
              <a:cxn ang="0">
                <a:pos x="583" y="666"/>
              </a:cxn>
              <a:cxn ang="0">
                <a:pos x="557" y="698"/>
              </a:cxn>
              <a:cxn ang="0">
                <a:pos x="520" y="705"/>
              </a:cxn>
              <a:cxn ang="0">
                <a:pos x="496" y="710"/>
              </a:cxn>
              <a:cxn ang="0">
                <a:pos x="485" y="727"/>
              </a:cxn>
              <a:cxn ang="0">
                <a:pos x="372" y="727"/>
              </a:cxn>
              <a:cxn ang="0">
                <a:pos x="339" y="732"/>
              </a:cxn>
              <a:cxn ang="0">
                <a:pos x="316" y="732"/>
              </a:cxn>
              <a:cxn ang="0">
                <a:pos x="286" y="727"/>
              </a:cxn>
              <a:cxn ang="0">
                <a:pos x="263" y="737"/>
              </a:cxn>
              <a:cxn ang="0">
                <a:pos x="146" y="759"/>
              </a:cxn>
              <a:cxn ang="0">
                <a:pos x="116" y="753"/>
              </a:cxn>
              <a:cxn ang="0">
                <a:pos x="90" y="739"/>
              </a:cxn>
              <a:cxn ang="0">
                <a:pos x="76" y="719"/>
              </a:cxn>
              <a:cxn ang="0">
                <a:pos x="79" y="697"/>
              </a:cxn>
              <a:cxn ang="0">
                <a:pos x="75" y="628"/>
              </a:cxn>
              <a:cxn ang="0">
                <a:pos x="79" y="608"/>
              </a:cxn>
              <a:cxn ang="0">
                <a:pos x="68" y="572"/>
              </a:cxn>
              <a:cxn ang="0">
                <a:pos x="22" y="516"/>
              </a:cxn>
              <a:cxn ang="0">
                <a:pos x="12" y="484"/>
              </a:cxn>
              <a:cxn ang="0">
                <a:pos x="10" y="439"/>
              </a:cxn>
              <a:cxn ang="0">
                <a:pos x="0" y="377"/>
              </a:cxn>
              <a:cxn ang="0">
                <a:pos x="39" y="377"/>
              </a:cxn>
              <a:cxn ang="0">
                <a:pos x="57" y="396"/>
              </a:cxn>
              <a:cxn ang="0">
                <a:pos x="94" y="410"/>
              </a:cxn>
              <a:cxn ang="0">
                <a:pos x="135" y="411"/>
              </a:cxn>
              <a:cxn ang="0">
                <a:pos x="160" y="400"/>
              </a:cxn>
              <a:cxn ang="0">
                <a:pos x="182" y="372"/>
              </a:cxn>
              <a:cxn ang="0">
                <a:pos x="197" y="229"/>
              </a:cxn>
              <a:cxn ang="0">
                <a:pos x="204" y="184"/>
              </a:cxn>
              <a:cxn ang="0">
                <a:pos x="210" y="168"/>
              </a:cxn>
              <a:cxn ang="0">
                <a:pos x="239" y="178"/>
              </a:cxn>
              <a:cxn ang="0">
                <a:pos x="245" y="238"/>
              </a:cxn>
              <a:cxn ang="0">
                <a:pos x="247" y="274"/>
              </a:cxn>
              <a:cxn ang="0">
                <a:pos x="256" y="287"/>
              </a:cxn>
              <a:cxn ang="0">
                <a:pos x="287" y="295"/>
              </a:cxn>
              <a:cxn ang="0">
                <a:pos x="312" y="293"/>
              </a:cxn>
              <a:cxn ang="0">
                <a:pos x="333" y="272"/>
              </a:cxn>
              <a:cxn ang="0">
                <a:pos x="350" y="234"/>
              </a:cxn>
              <a:cxn ang="0">
                <a:pos x="368" y="201"/>
              </a:cxn>
              <a:cxn ang="0">
                <a:pos x="387" y="191"/>
              </a:cxn>
              <a:cxn ang="0">
                <a:pos x="414" y="193"/>
              </a:cxn>
              <a:cxn ang="0">
                <a:pos x="451" y="208"/>
              </a:cxn>
              <a:cxn ang="0">
                <a:pos x="478" y="216"/>
              </a:cxn>
              <a:cxn ang="0">
                <a:pos x="512" y="213"/>
              </a:cxn>
              <a:cxn ang="0">
                <a:pos x="531" y="200"/>
              </a:cxn>
              <a:cxn ang="0">
                <a:pos x="564" y="127"/>
              </a:cxn>
              <a:cxn ang="0">
                <a:pos x="620" y="80"/>
              </a:cxn>
              <a:cxn ang="0">
                <a:pos x="732" y="11"/>
              </a:cxn>
              <a:cxn ang="0">
                <a:pos x="806" y="3"/>
              </a:cxn>
              <a:cxn ang="0">
                <a:pos x="830" y="6"/>
              </a:cxn>
              <a:cxn ang="0">
                <a:pos x="854" y="35"/>
              </a:cxn>
              <a:cxn ang="0">
                <a:pos x="873" y="71"/>
              </a:cxn>
              <a:cxn ang="0">
                <a:pos x="883" y="107"/>
              </a:cxn>
              <a:cxn ang="0">
                <a:pos x="868" y="207"/>
              </a:cxn>
              <a:cxn ang="0">
                <a:pos x="830" y="204"/>
              </a:cxn>
              <a:cxn ang="0">
                <a:pos x="826" y="281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431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6081713" y="2935289"/>
            <a:ext cx="411162" cy="611187"/>
          </a:xfrm>
          <a:custGeom>
            <a:avLst/>
            <a:gdLst/>
            <a:ahLst/>
            <a:cxnLst>
              <a:cxn ang="0">
                <a:pos x="742" y="5"/>
              </a:cxn>
              <a:cxn ang="0">
                <a:pos x="765" y="23"/>
              </a:cxn>
              <a:cxn ang="0">
                <a:pos x="803" y="30"/>
              </a:cxn>
              <a:cxn ang="0">
                <a:pos x="814" y="55"/>
              </a:cxn>
              <a:cxn ang="0">
                <a:pos x="835" y="109"/>
              </a:cxn>
              <a:cxn ang="0">
                <a:pos x="837" y="187"/>
              </a:cxn>
              <a:cxn ang="0">
                <a:pos x="857" y="243"/>
              </a:cxn>
              <a:cxn ang="0">
                <a:pos x="922" y="292"/>
              </a:cxn>
              <a:cxn ang="0">
                <a:pos x="879" y="361"/>
              </a:cxn>
              <a:cxn ang="0">
                <a:pos x="851" y="410"/>
              </a:cxn>
              <a:cxn ang="0">
                <a:pos x="809" y="635"/>
              </a:cxn>
              <a:cxn ang="0">
                <a:pos x="770" y="677"/>
              </a:cxn>
              <a:cxn ang="0">
                <a:pos x="763" y="721"/>
              </a:cxn>
              <a:cxn ang="0">
                <a:pos x="745" y="735"/>
              </a:cxn>
              <a:cxn ang="0">
                <a:pos x="723" y="798"/>
              </a:cxn>
              <a:cxn ang="0">
                <a:pos x="692" y="877"/>
              </a:cxn>
              <a:cxn ang="0">
                <a:pos x="662" y="903"/>
              </a:cxn>
              <a:cxn ang="0">
                <a:pos x="664" y="934"/>
              </a:cxn>
              <a:cxn ang="0">
                <a:pos x="686" y="939"/>
              </a:cxn>
              <a:cxn ang="0">
                <a:pos x="709" y="950"/>
              </a:cxn>
              <a:cxn ang="0">
                <a:pos x="742" y="971"/>
              </a:cxn>
              <a:cxn ang="0">
                <a:pos x="756" y="1007"/>
              </a:cxn>
              <a:cxn ang="0">
                <a:pos x="775" y="1043"/>
              </a:cxn>
              <a:cxn ang="0">
                <a:pos x="803" y="1053"/>
              </a:cxn>
              <a:cxn ang="0">
                <a:pos x="809" y="1094"/>
              </a:cxn>
              <a:cxn ang="0">
                <a:pos x="718" y="1115"/>
              </a:cxn>
              <a:cxn ang="0">
                <a:pos x="687" y="1157"/>
              </a:cxn>
              <a:cxn ang="0">
                <a:pos x="598" y="1170"/>
              </a:cxn>
              <a:cxn ang="0">
                <a:pos x="515" y="1158"/>
              </a:cxn>
              <a:cxn ang="0">
                <a:pos x="464" y="1123"/>
              </a:cxn>
              <a:cxn ang="0">
                <a:pos x="390" y="1125"/>
              </a:cxn>
              <a:cxn ang="0">
                <a:pos x="319" y="1120"/>
              </a:cxn>
              <a:cxn ang="0">
                <a:pos x="297" y="1104"/>
              </a:cxn>
              <a:cxn ang="0">
                <a:pos x="294" y="1075"/>
              </a:cxn>
              <a:cxn ang="0">
                <a:pos x="274" y="1029"/>
              </a:cxn>
              <a:cxn ang="0">
                <a:pos x="216" y="974"/>
              </a:cxn>
              <a:cxn ang="0">
                <a:pos x="193" y="925"/>
              </a:cxn>
              <a:cxn ang="0">
                <a:pos x="152" y="903"/>
              </a:cxn>
              <a:cxn ang="0">
                <a:pos x="120" y="846"/>
              </a:cxn>
              <a:cxn ang="0">
                <a:pos x="97" y="788"/>
              </a:cxn>
              <a:cxn ang="0">
                <a:pos x="65" y="758"/>
              </a:cxn>
              <a:cxn ang="0">
                <a:pos x="33" y="676"/>
              </a:cxn>
              <a:cxn ang="0">
                <a:pos x="4" y="611"/>
              </a:cxn>
              <a:cxn ang="0">
                <a:pos x="18" y="577"/>
              </a:cxn>
              <a:cxn ang="0">
                <a:pos x="29" y="521"/>
              </a:cxn>
              <a:cxn ang="0">
                <a:pos x="64" y="474"/>
              </a:cxn>
              <a:cxn ang="0">
                <a:pos x="113" y="222"/>
              </a:cxn>
              <a:cxn ang="0">
                <a:pos x="123" y="179"/>
              </a:cxn>
              <a:cxn ang="0">
                <a:pos x="153" y="171"/>
              </a:cxn>
              <a:cxn ang="0">
                <a:pos x="160" y="122"/>
              </a:cxn>
              <a:cxn ang="0">
                <a:pos x="159" y="67"/>
              </a:cxn>
              <a:cxn ang="0">
                <a:pos x="679" y="69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grpSp>
        <p:nvGrpSpPr>
          <p:cNvPr id="2432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4865688" y="3136900"/>
            <a:ext cx="80962" cy="82550"/>
            <a:chOff x="2352" y="2343"/>
            <a:chExt cx="65" cy="53"/>
          </a:xfrm>
        </p:grpSpPr>
        <p:sp>
          <p:nvSpPr>
            <p:cNvPr id="2433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0" y="5"/>
                </a:cxn>
                <a:cxn ang="0">
                  <a:pos x="4" y="28"/>
                </a:cxn>
                <a:cxn ang="0">
                  <a:pos x="10" y="33"/>
                </a:cxn>
                <a:cxn ang="0">
                  <a:pos x="35" y="25"/>
                </a:cxn>
                <a:cxn ang="0">
                  <a:pos x="48" y="15"/>
                </a:cxn>
                <a:cxn ang="0">
                  <a:pos x="51" y="8"/>
                </a:cxn>
                <a:cxn ang="0">
                  <a:pos x="46" y="0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34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/>
              <a:ahLst/>
              <a:cxnLst>
                <a:cxn ang="0">
                  <a:pos x="61" y="6"/>
                </a:cxn>
                <a:cxn ang="0">
                  <a:pos x="53" y="2"/>
                </a:cxn>
                <a:cxn ang="0">
                  <a:pos x="0" y="0"/>
                </a:cxn>
                <a:cxn ang="0">
                  <a:pos x="2" y="14"/>
                </a:cxn>
                <a:cxn ang="0">
                  <a:pos x="7" y="20"/>
                </a:cxn>
                <a:cxn ang="0">
                  <a:pos x="18" y="13"/>
                </a:cxn>
                <a:cxn ang="0">
                  <a:pos x="61" y="6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35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0"/>
                </a:cxn>
                <a:cxn ang="0">
                  <a:pos x="0" y="36"/>
                </a:cxn>
                <a:cxn ang="0">
                  <a:pos x="11" y="35"/>
                </a:cxn>
                <a:cxn ang="0">
                  <a:pos x="15" y="14"/>
                </a:cxn>
                <a:cxn ang="0">
                  <a:pos x="2" y="0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36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22" y="0"/>
                </a:cxn>
                <a:cxn ang="0">
                  <a:pos x="35" y="6"/>
                </a:cxn>
                <a:cxn ang="0">
                  <a:pos x="37" y="22"/>
                </a:cxn>
                <a:cxn ang="0">
                  <a:pos x="24" y="33"/>
                </a:cxn>
                <a:cxn ang="0">
                  <a:pos x="11" y="33"/>
                </a:cxn>
                <a:cxn ang="0">
                  <a:pos x="2" y="24"/>
                </a:cxn>
                <a:cxn ang="0">
                  <a:pos x="0" y="16"/>
                </a:cxn>
                <a:cxn ang="0">
                  <a:pos x="4" y="4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37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2" y="50"/>
                </a:cxn>
                <a:cxn ang="0">
                  <a:pos x="18" y="54"/>
                </a:cxn>
                <a:cxn ang="0">
                  <a:pos x="44" y="45"/>
                </a:cxn>
                <a:cxn ang="0">
                  <a:pos x="49" y="31"/>
                </a:cxn>
                <a:cxn ang="0">
                  <a:pos x="40" y="21"/>
                </a:cxn>
                <a:cxn ang="0">
                  <a:pos x="19" y="8"/>
                </a:cxn>
                <a:cxn ang="0">
                  <a:pos x="2" y="0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438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3" y="2"/>
                </a:cxn>
                <a:cxn ang="0">
                  <a:pos x="0" y="15"/>
                </a:cxn>
                <a:cxn ang="0">
                  <a:pos x="6" y="21"/>
                </a:cxn>
                <a:cxn ang="0">
                  <a:pos x="19" y="22"/>
                </a:cxn>
                <a:cxn ang="0">
                  <a:pos x="26" y="11"/>
                </a:cxn>
                <a:cxn ang="0">
                  <a:pos x="18" y="0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2439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2711451" y="1196976"/>
            <a:ext cx="1897063" cy="1133475"/>
            <a:chOff x="527" y="1110"/>
            <a:chExt cx="1410" cy="709"/>
          </a:xfrm>
          <a:solidFill>
            <a:srgbClr val="FF0000"/>
          </a:solidFill>
        </p:grpSpPr>
        <p:sp>
          <p:nvSpPr>
            <p:cNvPr id="2440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5" y="46"/>
                </a:cxn>
                <a:cxn ang="0">
                  <a:pos x="13" y="50"/>
                </a:cxn>
                <a:cxn ang="0">
                  <a:pos x="23" y="53"/>
                </a:cxn>
                <a:cxn ang="0">
                  <a:pos x="32" y="54"/>
                </a:cxn>
                <a:cxn ang="0">
                  <a:pos x="38" y="54"/>
                </a:cxn>
                <a:cxn ang="0">
                  <a:pos x="45" y="53"/>
                </a:cxn>
                <a:cxn ang="0">
                  <a:pos x="50" y="51"/>
                </a:cxn>
                <a:cxn ang="0">
                  <a:pos x="56" y="49"/>
                </a:cxn>
                <a:cxn ang="0">
                  <a:pos x="67" y="42"/>
                </a:cxn>
                <a:cxn ang="0">
                  <a:pos x="75" y="35"/>
                </a:cxn>
                <a:cxn ang="0">
                  <a:pos x="84" y="28"/>
                </a:cxn>
                <a:cxn ang="0">
                  <a:pos x="91" y="20"/>
                </a:cxn>
                <a:cxn ang="0">
                  <a:pos x="95" y="12"/>
                </a:cxn>
                <a:cxn ang="0">
                  <a:pos x="98" y="4"/>
                </a:cxn>
                <a:cxn ang="0">
                  <a:pos x="91" y="2"/>
                </a:cxn>
                <a:cxn ang="0">
                  <a:pos x="83" y="0"/>
                </a:cxn>
                <a:cxn ang="0">
                  <a:pos x="75" y="0"/>
                </a:cxn>
                <a:cxn ang="0">
                  <a:pos x="68" y="0"/>
                </a:cxn>
                <a:cxn ang="0">
                  <a:pos x="59" y="1"/>
                </a:cxn>
                <a:cxn ang="0">
                  <a:pos x="51" y="3"/>
                </a:cxn>
                <a:cxn ang="0">
                  <a:pos x="43" y="6"/>
                </a:cxn>
                <a:cxn ang="0">
                  <a:pos x="37" y="9"/>
                </a:cxn>
                <a:cxn ang="0">
                  <a:pos x="23" y="17"/>
                </a:cxn>
                <a:cxn ang="0">
                  <a:pos x="12" y="25"/>
                </a:cxn>
                <a:cxn ang="0">
                  <a:pos x="7" y="29"/>
                </a:cxn>
                <a:cxn ang="0">
                  <a:pos x="4" y="33"/>
                </a:cxn>
                <a:cxn ang="0">
                  <a:pos x="1" y="37"/>
                </a:cxn>
                <a:cxn ang="0">
                  <a:pos x="0" y="41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41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11" y="28"/>
                </a:cxn>
                <a:cxn ang="0">
                  <a:pos x="21" y="27"/>
                </a:cxn>
                <a:cxn ang="0">
                  <a:pos x="31" y="25"/>
                </a:cxn>
                <a:cxn ang="0">
                  <a:pos x="41" y="21"/>
                </a:cxn>
                <a:cxn ang="0">
                  <a:pos x="49" y="17"/>
                </a:cxn>
                <a:cxn ang="0">
                  <a:pos x="57" y="12"/>
                </a:cxn>
                <a:cxn ang="0">
                  <a:pos x="63" y="7"/>
                </a:cxn>
                <a:cxn ang="0">
                  <a:pos x="67" y="3"/>
                </a:cxn>
                <a:cxn ang="0">
                  <a:pos x="57" y="1"/>
                </a:cxn>
                <a:cxn ang="0">
                  <a:pos x="46" y="0"/>
                </a:cxn>
                <a:cxn ang="0">
                  <a:pos x="36" y="1"/>
                </a:cxn>
                <a:cxn ang="0">
                  <a:pos x="26" y="3"/>
                </a:cxn>
                <a:cxn ang="0">
                  <a:pos x="17" y="7"/>
                </a:cxn>
                <a:cxn ang="0">
                  <a:pos x="10" y="12"/>
                </a:cxn>
                <a:cxn ang="0">
                  <a:pos x="7" y="15"/>
                </a:cxn>
                <a:cxn ang="0">
                  <a:pos x="4" y="19"/>
                </a:cxn>
                <a:cxn ang="0">
                  <a:pos x="2" y="22"/>
                </a:cxn>
                <a:cxn ang="0">
                  <a:pos x="0" y="2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42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" y="24"/>
                </a:cxn>
                <a:cxn ang="0">
                  <a:pos x="4" y="29"/>
                </a:cxn>
                <a:cxn ang="0">
                  <a:pos x="6" y="32"/>
                </a:cxn>
                <a:cxn ang="0">
                  <a:pos x="8" y="34"/>
                </a:cxn>
                <a:cxn ang="0">
                  <a:pos x="11" y="36"/>
                </a:cxn>
                <a:cxn ang="0">
                  <a:pos x="13" y="36"/>
                </a:cxn>
                <a:cxn ang="0">
                  <a:pos x="32" y="36"/>
                </a:cxn>
                <a:cxn ang="0">
                  <a:pos x="32" y="22"/>
                </a:cxn>
                <a:cxn ang="0">
                  <a:pos x="31" y="14"/>
                </a:cxn>
                <a:cxn ang="0">
                  <a:pos x="30" y="7"/>
                </a:cxn>
                <a:cxn ang="0">
                  <a:pos x="26" y="0"/>
                </a:cxn>
                <a:cxn ang="0">
                  <a:pos x="19" y="2"/>
                </a:cxn>
                <a:cxn ang="0">
                  <a:pos x="11" y="7"/>
                </a:cxn>
                <a:cxn ang="0">
                  <a:pos x="6" y="10"/>
                </a:cxn>
                <a:cxn ang="0">
                  <a:pos x="3" y="13"/>
                </a:cxn>
                <a:cxn ang="0">
                  <a:pos x="1" y="16"/>
                </a:cxn>
                <a:cxn ang="0">
                  <a:pos x="0" y="18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43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11" y="46"/>
                </a:cxn>
                <a:cxn ang="0">
                  <a:pos x="22" y="48"/>
                </a:cxn>
                <a:cxn ang="0">
                  <a:pos x="33" y="51"/>
                </a:cxn>
                <a:cxn ang="0">
                  <a:pos x="43" y="52"/>
                </a:cxn>
                <a:cxn ang="0">
                  <a:pos x="63" y="52"/>
                </a:cxn>
                <a:cxn ang="0">
                  <a:pos x="82" y="51"/>
                </a:cxn>
                <a:cxn ang="0">
                  <a:pos x="117" y="46"/>
                </a:cxn>
                <a:cxn ang="0">
                  <a:pos x="146" y="43"/>
                </a:cxn>
                <a:cxn ang="0">
                  <a:pos x="144" y="36"/>
                </a:cxn>
                <a:cxn ang="0">
                  <a:pos x="142" y="30"/>
                </a:cxn>
                <a:cxn ang="0">
                  <a:pos x="139" y="24"/>
                </a:cxn>
                <a:cxn ang="0">
                  <a:pos x="137" y="19"/>
                </a:cxn>
                <a:cxn ang="0">
                  <a:pos x="134" y="15"/>
                </a:cxn>
                <a:cxn ang="0">
                  <a:pos x="129" y="11"/>
                </a:cxn>
                <a:cxn ang="0">
                  <a:pos x="125" y="8"/>
                </a:cxn>
                <a:cxn ang="0">
                  <a:pos x="121" y="6"/>
                </a:cxn>
                <a:cxn ang="0">
                  <a:pos x="111" y="2"/>
                </a:cxn>
                <a:cxn ang="0">
                  <a:pos x="101" y="0"/>
                </a:cxn>
                <a:cxn ang="0">
                  <a:pos x="89" y="1"/>
                </a:cxn>
                <a:cxn ang="0">
                  <a:pos x="78" y="2"/>
                </a:cxn>
                <a:cxn ang="0">
                  <a:pos x="66" y="5"/>
                </a:cxn>
                <a:cxn ang="0">
                  <a:pos x="54" y="9"/>
                </a:cxn>
                <a:cxn ang="0">
                  <a:pos x="43" y="14"/>
                </a:cxn>
                <a:cxn ang="0">
                  <a:pos x="32" y="19"/>
                </a:cxn>
                <a:cxn ang="0">
                  <a:pos x="22" y="25"/>
                </a:cxn>
                <a:cxn ang="0">
                  <a:pos x="13" y="31"/>
                </a:cxn>
                <a:cxn ang="0">
                  <a:pos x="5" y="37"/>
                </a:cxn>
                <a:cxn ang="0">
                  <a:pos x="0" y="43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44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49" y="0"/>
                </a:cxn>
                <a:cxn ang="0">
                  <a:pos x="38" y="0"/>
                </a:cxn>
                <a:cxn ang="0">
                  <a:pos x="31" y="0"/>
                </a:cxn>
                <a:cxn ang="0">
                  <a:pos x="27" y="0"/>
                </a:cxn>
                <a:cxn ang="0">
                  <a:pos x="18" y="0"/>
                </a:cxn>
                <a:cxn ang="0">
                  <a:pos x="9" y="2"/>
                </a:cxn>
                <a:cxn ang="0">
                  <a:pos x="5" y="3"/>
                </a:cxn>
                <a:cxn ang="0">
                  <a:pos x="2" y="5"/>
                </a:cxn>
                <a:cxn ang="0">
                  <a:pos x="1" y="8"/>
                </a:cxn>
                <a:cxn ang="0">
                  <a:pos x="0" y="12"/>
                </a:cxn>
                <a:cxn ang="0">
                  <a:pos x="1" y="15"/>
                </a:cxn>
                <a:cxn ang="0">
                  <a:pos x="2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12" y="27"/>
                </a:cxn>
                <a:cxn ang="0">
                  <a:pos x="18" y="29"/>
                </a:cxn>
                <a:cxn ang="0">
                  <a:pos x="22" y="31"/>
                </a:cxn>
                <a:cxn ang="0">
                  <a:pos x="27" y="31"/>
                </a:cxn>
                <a:cxn ang="0">
                  <a:pos x="32" y="30"/>
                </a:cxn>
                <a:cxn ang="0">
                  <a:pos x="37" y="28"/>
                </a:cxn>
                <a:cxn ang="0">
                  <a:pos x="43" y="24"/>
                </a:cxn>
                <a:cxn ang="0">
                  <a:pos x="48" y="18"/>
                </a:cxn>
                <a:cxn ang="0">
                  <a:pos x="57" y="10"/>
                </a:cxn>
                <a:cxn ang="0">
                  <a:pos x="60" y="6"/>
                </a:cxn>
                <a:cxn ang="0">
                  <a:pos x="60" y="0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45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1" y="46"/>
                </a:cxn>
                <a:cxn ang="0">
                  <a:pos x="1" y="49"/>
                </a:cxn>
                <a:cxn ang="0">
                  <a:pos x="3" y="51"/>
                </a:cxn>
                <a:cxn ang="0">
                  <a:pos x="4" y="53"/>
                </a:cxn>
                <a:cxn ang="0">
                  <a:pos x="10" y="57"/>
                </a:cxn>
                <a:cxn ang="0">
                  <a:pos x="15" y="59"/>
                </a:cxn>
                <a:cxn ang="0">
                  <a:pos x="28" y="62"/>
                </a:cxn>
                <a:cxn ang="0">
                  <a:pos x="40" y="62"/>
                </a:cxn>
                <a:cxn ang="0">
                  <a:pos x="45" y="62"/>
                </a:cxn>
                <a:cxn ang="0">
                  <a:pos x="49" y="59"/>
                </a:cxn>
                <a:cxn ang="0">
                  <a:pos x="54" y="57"/>
                </a:cxn>
                <a:cxn ang="0">
                  <a:pos x="58" y="54"/>
                </a:cxn>
                <a:cxn ang="0">
                  <a:pos x="65" y="47"/>
                </a:cxn>
                <a:cxn ang="0">
                  <a:pos x="70" y="38"/>
                </a:cxn>
                <a:cxn ang="0">
                  <a:pos x="74" y="28"/>
                </a:cxn>
                <a:cxn ang="0">
                  <a:pos x="78" y="18"/>
                </a:cxn>
                <a:cxn ang="0">
                  <a:pos x="79" y="8"/>
                </a:cxn>
                <a:cxn ang="0">
                  <a:pos x="80" y="0"/>
                </a:cxn>
                <a:cxn ang="0">
                  <a:pos x="71" y="0"/>
                </a:cxn>
                <a:cxn ang="0">
                  <a:pos x="59" y="3"/>
                </a:cxn>
                <a:cxn ang="0">
                  <a:pos x="46" y="8"/>
                </a:cxn>
                <a:cxn ang="0">
                  <a:pos x="33" y="13"/>
                </a:cxn>
                <a:cxn ang="0">
                  <a:pos x="21" y="19"/>
                </a:cxn>
                <a:cxn ang="0">
                  <a:pos x="10" y="26"/>
                </a:cxn>
                <a:cxn ang="0">
                  <a:pos x="6" y="30"/>
                </a:cxn>
                <a:cxn ang="0">
                  <a:pos x="3" y="34"/>
                </a:cxn>
                <a:cxn ang="0">
                  <a:pos x="1" y="39"/>
                </a:cxn>
                <a:cxn ang="0">
                  <a:pos x="0" y="43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46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/>
              <a:ahLst/>
              <a:cxnLst>
                <a:cxn ang="0">
                  <a:pos x="80" y="13"/>
                </a:cxn>
                <a:cxn ang="0">
                  <a:pos x="72" y="12"/>
                </a:cxn>
                <a:cxn ang="0">
                  <a:pos x="66" y="11"/>
                </a:cxn>
                <a:cxn ang="0">
                  <a:pos x="59" y="8"/>
                </a:cxn>
                <a:cxn ang="0">
                  <a:pos x="53" y="6"/>
                </a:cxn>
                <a:cxn ang="0">
                  <a:pos x="47" y="4"/>
                </a:cxn>
                <a:cxn ang="0">
                  <a:pos x="41" y="2"/>
                </a:cxn>
                <a:cxn ang="0">
                  <a:pos x="34" y="0"/>
                </a:cxn>
                <a:cxn ang="0">
                  <a:pos x="26" y="0"/>
                </a:cxn>
                <a:cxn ang="0">
                  <a:pos x="15" y="0"/>
                </a:cxn>
                <a:cxn ang="0">
                  <a:pos x="0" y="0"/>
                </a:cxn>
                <a:cxn ang="0">
                  <a:pos x="9" y="11"/>
                </a:cxn>
                <a:cxn ang="0">
                  <a:pos x="17" y="21"/>
                </a:cxn>
                <a:cxn ang="0">
                  <a:pos x="26" y="29"/>
                </a:cxn>
                <a:cxn ang="0">
                  <a:pos x="34" y="36"/>
                </a:cxn>
                <a:cxn ang="0">
                  <a:pos x="42" y="42"/>
                </a:cxn>
                <a:cxn ang="0">
                  <a:pos x="52" y="46"/>
                </a:cxn>
                <a:cxn ang="0">
                  <a:pos x="61" y="48"/>
                </a:cxn>
                <a:cxn ang="0">
                  <a:pos x="72" y="49"/>
                </a:cxn>
                <a:cxn ang="0">
                  <a:pos x="79" y="48"/>
                </a:cxn>
                <a:cxn ang="0">
                  <a:pos x="87" y="45"/>
                </a:cxn>
                <a:cxn ang="0">
                  <a:pos x="97" y="39"/>
                </a:cxn>
                <a:cxn ang="0">
                  <a:pos x="106" y="31"/>
                </a:cxn>
                <a:cxn ang="0">
                  <a:pos x="101" y="30"/>
                </a:cxn>
                <a:cxn ang="0">
                  <a:pos x="98" y="28"/>
                </a:cxn>
                <a:cxn ang="0">
                  <a:pos x="93" y="25"/>
                </a:cxn>
                <a:cxn ang="0">
                  <a:pos x="90" y="22"/>
                </a:cxn>
                <a:cxn ang="0">
                  <a:pos x="88" y="19"/>
                </a:cxn>
                <a:cxn ang="0">
                  <a:pos x="84" y="16"/>
                </a:cxn>
                <a:cxn ang="0">
                  <a:pos x="82" y="14"/>
                </a:cxn>
                <a:cxn ang="0">
                  <a:pos x="80" y="13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47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5" y="21"/>
                </a:cxn>
                <a:cxn ang="0">
                  <a:pos x="12" y="22"/>
                </a:cxn>
                <a:cxn ang="0">
                  <a:pos x="18" y="22"/>
                </a:cxn>
                <a:cxn ang="0">
                  <a:pos x="26" y="21"/>
                </a:cxn>
                <a:cxn ang="0">
                  <a:pos x="33" y="19"/>
                </a:cxn>
                <a:cxn ang="0">
                  <a:pos x="38" y="15"/>
                </a:cxn>
                <a:cxn ang="0">
                  <a:pos x="41" y="12"/>
                </a:cxn>
                <a:cxn ang="0">
                  <a:pos x="44" y="9"/>
                </a:cxn>
                <a:cxn ang="0">
                  <a:pos x="45" y="5"/>
                </a:cxn>
                <a:cxn ang="0">
                  <a:pos x="47" y="0"/>
                </a:cxn>
                <a:cxn ang="0">
                  <a:pos x="0" y="19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48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/>
              <a:ahLst/>
              <a:cxnLst>
                <a:cxn ang="0">
                  <a:pos x="53" y="0"/>
                </a:cxn>
                <a:cxn ang="0">
                  <a:pos x="37" y="9"/>
                </a:cxn>
                <a:cxn ang="0">
                  <a:pos x="23" y="18"/>
                </a:cxn>
                <a:cxn ang="0">
                  <a:pos x="11" y="26"/>
                </a:cxn>
                <a:cxn ang="0">
                  <a:pos x="0" y="32"/>
                </a:cxn>
                <a:cxn ang="0">
                  <a:pos x="13" y="32"/>
                </a:cxn>
                <a:cxn ang="0">
                  <a:pos x="26" y="32"/>
                </a:cxn>
                <a:cxn ang="0">
                  <a:pos x="39" y="32"/>
                </a:cxn>
                <a:cxn ang="0">
                  <a:pos x="53" y="32"/>
                </a:cxn>
                <a:cxn ang="0">
                  <a:pos x="53" y="24"/>
                </a:cxn>
                <a:cxn ang="0">
                  <a:pos x="53" y="16"/>
                </a:cxn>
                <a:cxn ang="0">
                  <a:pos x="53" y="9"/>
                </a:cxn>
                <a:cxn ang="0">
                  <a:pos x="53" y="0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49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/>
              <a:ahLst/>
              <a:cxnLst>
                <a:cxn ang="0">
                  <a:pos x="27" y="3"/>
                </a:cxn>
                <a:cxn ang="0">
                  <a:pos x="0" y="16"/>
                </a:cxn>
                <a:cxn ang="0">
                  <a:pos x="0" y="34"/>
                </a:cxn>
                <a:cxn ang="0">
                  <a:pos x="27" y="34"/>
                </a:cxn>
                <a:cxn ang="0">
                  <a:pos x="31" y="32"/>
                </a:cxn>
                <a:cxn ang="0">
                  <a:pos x="35" y="28"/>
                </a:cxn>
                <a:cxn ang="0">
                  <a:pos x="39" y="25"/>
                </a:cxn>
                <a:cxn ang="0">
                  <a:pos x="42" y="21"/>
                </a:cxn>
                <a:cxn ang="0">
                  <a:pos x="44" y="17"/>
                </a:cxn>
                <a:cxn ang="0">
                  <a:pos x="45" y="13"/>
                </a:cxn>
                <a:cxn ang="0">
                  <a:pos x="46" y="8"/>
                </a:cxn>
                <a:cxn ang="0">
                  <a:pos x="46" y="3"/>
                </a:cxn>
                <a:cxn ang="0">
                  <a:pos x="46" y="1"/>
                </a:cxn>
                <a:cxn ang="0">
                  <a:pos x="44" y="0"/>
                </a:cxn>
                <a:cxn ang="0">
                  <a:pos x="42" y="0"/>
                </a:cxn>
                <a:cxn ang="0">
                  <a:pos x="39" y="0"/>
                </a:cxn>
                <a:cxn ang="0">
                  <a:pos x="32" y="2"/>
                </a:cxn>
                <a:cxn ang="0">
                  <a:pos x="27" y="3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50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14" y="25"/>
                </a:cxn>
                <a:cxn ang="0">
                  <a:pos x="28" y="25"/>
                </a:cxn>
                <a:cxn ang="0">
                  <a:pos x="30" y="24"/>
                </a:cxn>
                <a:cxn ang="0">
                  <a:pos x="33" y="22"/>
                </a:cxn>
                <a:cxn ang="0">
                  <a:pos x="37" y="18"/>
                </a:cxn>
                <a:cxn ang="0">
                  <a:pos x="40" y="15"/>
                </a:cxn>
                <a:cxn ang="0">
                  <a:pos x="45" y="7"/>
                </a:cxn>
                <a:cxn ang="0">
                  <a:pos x="48" y="0"/>
                </a:cxn>
                <a:cxn ang="0">
                  <a:pos x="40" y="1"/>
                </a:cxn>
                <a:cxn ang="0">
                  <a:pos x="33" y="2"/>
                </a:cxn>
                <a:cxn ang="0">
                  <a:pos x="28" y="5"/>
                </a:cxn>
                <a:cxn ang="0">
                  <a:pos x="21" y="8"/>
                </a:cxn>
                <a:cxn ang="0">
                  <a:pos x="11" y="16"/>
                </a:cxn>
                <a:cxn ang="0">
                  <a:pos x="0" y="25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51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7"/>
                </a:cxn>
                <a:cxn ang="0">
                  <a:pos x="11" y="36"/>
                </a:cxn>
                <a:cxn ang="0">
                  <a:pos x="20" y="34"/>
                </a:cxn>
                <a:cxn ang="0">
                  <a:pos x="22" y="33"/>
                </a:cxn>
                <a:cxn ang="0">
                  <a:pos x="26" y="32"/>
                </a:cxn>
                <a:cxn ang="0">
                  <a:pos x="28" y="30"/>
                </a:cxn>
                <a:cxn ang="0">
                  <a:pos x="29" y="28"/>
                </a:cxn>
                <a:cxn ang="0">
                  <a:pos x="30" y="23"/>
                </a:cxn>
                <a:cxn ang="0">
                  <a:pos x="30" y="16"/>
                </a:cxn>
                <a:cxn ang="0">
                  <a:pos x="29" y="9"/>
                </a:cxn>
                <a:cxn ang="0">
                  <a:pos x="27" y="0"/>
                </a:cxn>
                <a:cxn ang="0">
                  <a:pos x="0" y="0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52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/>
              <a:ahLst/>
              <a:cxnLst>
                <a:cxn ang="0">
                  <a:pos x="33" y="3"/>
                </a:cxn>
                <a:cxn ang="0">
                  <a:pos x="22" y="3"/>
                </a:cxn>
                <a:cxn ang="0">
                  <a:pos x="12" y="5"/>
                </a:cxn>
                <a:cxn ang="0">
                  <a:pos x="7" y="7"/>
                </a:cxn>
                <a:cxn ang="0">
                  <a:pos x="3" y="11"/>
                </a:cxn>
                <a:cxn ang="0">
                  <a:pos x="1" y="15"/>
                </a:cxn>
                <a:cxn ang="0">
                  <a:pos x="0" y="21"/>
                </a:cxn>
                <a:cxn ang="0">
                  <a:pos x="6" y="27"/>
                </a:cxn>
                <a:cxn ang="0">
                  <a:pos x="10" y="33"/>
                </a:cxn>
                <a:cxn ang="0">
                  <a:pos x="16" y="37"/>
                </a:cxn>
                <a:cxn ang="0">
                  <a:pos x="20" y="41"/>
                </a:cxn>
                <a:cxn ang="0">
                  <a:pos x="25" y="43"/>
                </a:cxn>
                <a:cxn ang="0">
                  <a:pos x="30" y="45"/>
                </a:cxn>
                <a:cxn ang="0">
                  <a:pos x="35" y="46"/>
                </a:cxn>
                <a:cxn ang="0">
                  <a:pos x="40" y="46"/>
                </a:cxn>
                <a:cxn ang="0">
                  <a:pos x="56" y="46"/>
                </a:cxn>
                <a:cxn ang="0">
                  <a:pos x="70" y="43"/>
                </a:cxn>
                <a:cxn ang="0">
                  <a:pos x="76" y="41"/>
                </a:cxn>
                <a:cxn ang="0">
                  <a:pos x="81" y="38"/>
                </a:cxn>
                <a:cxn ang="0">
                  <a:pos x="87" y="36"/>
                </a:cxn>
                <a:cxn ang="0">
                  <a:pos x="91" y="33"/>
                </a:cxn>
                <a:cxn ang="0">
                  <a:pos x="99" y="27"/>
                </a:cxn>
                <a:cxn ang="0">
                  <a:pos x="106" y="20"/>
                </a:cxn>
                <a:cxn ang="0">
                  <a:pos x="110" y="12"/>
                </a:cxn>
                <a:cxn ang="0">
                  <a:pos x="113" y="3"/>
                </a:cxn>
                <a:cxn ang="0">
                  <a:pos x="99" y="1"/>
                </a:cxn>
                <a:cxn ang="0">
                  <a:pos x="87" y="0"/>
                </a:cxn>
                <a:cxn ang="0">
                  <a:pos x="76" y="0"/>
                </a:cxn>
                <a:cxn ang="0">
                  <a:pos x="66" y="1"/>
                </a:cxn>
                <a:cxn ang="0">
                  <a:pos x="48" y="2"/>
                </a:cxn>
                <a:cxn ang="0">
                  <a:pos x="33" y="3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53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/>
              <a:ahLst/>
              <a:cxnLst>
                <a:cxn ang="0">
                  <a:pos x="0" y="79"/>
                </a:cxn>
                <a:cxn ang="0">
                  <a:pos x="2" y="81"/>
                </a:cxn>
                <a:cxn ang="0">
                  <a:pos x="6" y="82"/>
                </a:cxn>
                <a:cxn ang="0">
                  <a:pos x="10" y="82"/>
                </a:cxn>
                <a:cxn ang="0">
                  <a:pos x="14" y="82"/>
                </a:cxn>
                <a:cxn ang="0">
                  <a:pos x="23" y="80"/>
                </a:cxn>
                <a:cxn ang="0">
                  <a:pos x="33" y="79"/>
                </a:cxn>
                <a:cxn ang="0">
                  <a:pos x="40" y="79"/>
                </a:cxn>
                <a:cxn ang="0">
                  <a:pos x="47" y="78"/>
                </a:cxn>
                <a:cxn ang="0">
                  <a:pos x="56" y="76"/>
                </a:cxn>
                <a:cxn ang="0">
                  <a:pos x="65" y="74"/>
                </a:cxn>
                <a:cxn ang="0">
                  <a:pos x="83" y="68"/>
                </a:cxn>
                <a:cxn ang="0">
                  <a:pos x="103" y="59"/>
                </a:cxn>
                <a:cxn ang="0">
                  <a:pos x="112" y="54"/>
                </a:cxn>
                <a:cxn ang="0">
                  <a:pos x="121" y="49"/>
                </a:cxn>
                <a:cxn ang="0">
                  <a:pos x="129" y="43"/>
                </a:cxn>
                <a:cxn ang="0">
                  <a:pos x="136" y="38"/>
                </a:cxn>
                <a:cxn ang="0">
                  <a:pos x="142" y="32"/>
                </a:cxn>
                <a:cxn ang="0">
                  <a:pos x="147" y="25"/>
                </a:cxn>
                <a:cxn ang="0">
                  <a:pos x="150" y="19"/>
                </a:cxn>
                <a:cxn ang="0">
                  <a:pos x="153" y="12"/>
                </a:cxn>
                <a:cxn ang="0">
                  <a:pos x="134" y="8"/>
                </a:cxn>
                <a:cxn ang="0">
                  <a:pos x="115" y="3"/>
                </a:cxn>
                <a:cxn ang="0">
                  <a:pos x="96" y="1"/>
                </a:cxn>
                <a:cxn ang="0">
                  <a:pos x="77" y="0"/>
                </a:cxn>
                <a:cxn ang="0">
                  <a:pos x="68" y="1"/>
                </a:cxn>
                <a:cxn ang="0">
                  <a:pos x="60" y="1"/>
                </a:cxn>
                <a:cxn ang="0">
                  <a:pos x="52" y="2"/>
                </a:cxn>
                <a:cxn ang="0">
                  <a:pos x="45" y="4"/>
                </a:cxn>
                <a:cxn ang="0">
                  <a:pos x="38" y="7"/>
                </a:cxn>
                <a:cxn ang="0">
                  <a:pos x="34" y="10"/>
                </a:cxn>
                <a:cxn ang="0">
                  <a:pos x="30" y="14"/>
                </a:cxn>
                <a:cxn ang="0">
                  <a:pos x="26" y="18"/>
                </a:cxn>
                <a:cxn ang="0">
                  <a:pos x="32" y="23"/>
                </a:cxn>
                <a:cxn ang="0">
                  <a:pos x="36" y="29"/>
                </a:cxn>
                <a:cxn ang="0">
                  <a:pos x="38" y="32"/>
                </a:cxn>
                <a:cxn ang="0">
                  <a:pos x="42" y="34"/>
                </a:cxn>
                <a:cxn ang="0">
                  <a:pos x="44" y="36"/>
                </a:cxn>
                <a:cxn ang="0">
                  <a:pos x="46" y="36"/>
                </a:cxn>
                <a:cxn ang="0">
                  <a:pos x="40" y="41"/>
                </a:cxn>
                <a:cxn ang="0">
                  <a:pos x="33" y="46"/>
                </a:cxn>
                <a:cxn ang="0">
                  <a:pos x="29" y="52"/>
                </a:cxn>
                <a:cxn ang="0">
                  <a:pos x="23" y="57"/>
                </a:cxn>
                <a:cxn ang="0">
                  <a:pos x="18" y="64"/>
                </a:cxn>
                <a:cxn ang="0">
                  <a:pos x="13" y="69"/>
                </a:cxn>
                <a:cxn ang="0">
                  <a:pos x="7" y="75"/>
                </a:cxn>
                <a:cxn ang="0">
                  <a:pos x="0" y="79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54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/>
              <a:ahLst/>
              <a:cxnLst>
                <a:cxn ang="0">
                  <a:pos x="0" y="37"/>
                </a:cxn>
                <a:cxn ang="0">
                  <a:pos x="5" y="41"/>
                </a:cxn>
                <a:cxn ang="0">
                  <a:pos x="11" y="44"/>
                </a:cxn>
                <a:cxn ang="0">
                  <a:pos x="16" y="47"/>
                </a:cxn>
                <a:cxn ang="0">
                  <a:pos x="23" y="48"/>
                </a:cxn>
                <a:cxn ang="0">
                  <a:pos x="35" y="49"/>
                </a:cxn>
                <a:cxn ang="0">
                  <a:pos x="46" y="50"/>
                </a:cxn>
                <a:cxn ang="0">
                  <a:pos x="58" y="49"/>
                </a:cxn>
                <a:cxn ang="0">
                  <a:pos x="67" y="48"/>
                </a:cxn>
                <a:cxn ang="0">
                  <a:pos x="73" y="47"/>
                </a:cxn>
                <a:cxn ang="0">
                  <a:pos x="79" y="44"/>
                </a:cxn>
                <a:cxn ang="0">
                  <a:pos x="82" y="41"/>
                </a:cxn>
                <a:cxn ang="0">
                  <a:pos x="84" y="37"/>
                </a:cxn>
                <a:cxn ang="0">
                  <a:pos x="85" y="32"/>
                </a:cxn>
                <a:cxn ang="0">
                  <a:pos x="86" y="25"/>
                </a:cxn>
                <a:cxn ang="0">
                  <a:pos x="85" y="17"/>
                </a:cxn>
                <a:cxn ang="0">
                  <a:pos x="84" y="10"/>
                </a:cxn>
                <a:cxn ang="0">
                  <a:pos x="83" y="7"/>
                </a:cxn>
                <a:cxn ang="0">
                  <a:pos x="81" y="5"/>
                </a:cxn>
                <a:cxn ang="0">
                  <a:pos x="77" y="2"/>
                </a:cxn>
                <a:cxn ang="0">
                  <a:pos x="73" y="0"/>
                </a:cxn>
                <a:cxn ang="0">
                  <a:pos x="0" y="37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55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/>
              <a:ahLst/>
              <a:cxnLst>
                <a:cxn ang="0">
                  <a:pos x="119" y="61"/>
                </a:cxn>
                <a:cxn ang="0">
                  <a:pos x="109" y="61"/>
                </a:cxn>
                <a:cxn ang="0">
                  <a:pos x="99" y="61"/>
                </a:cxn>
                <a:cxn ang="0">
                  <a:pos x="90" y="61"/>
                </a:cxn>
                <a:cxn ang="0">
                  <a:pos x="80" y="61"/>
                </a:cxn>
                <a:cxn ang="0">
                  <a:pos x="60" y="74"/>
                </a:cxn>
                <a:cxn ang="0">
                  <a:pos x="33" y="74"/>
                </a:cxn>
                <a:cxn ang="0">
                  <a:pos x="36" y="61"/>
                </a:cxn>
                <a:cxn ang="0">
                  <a:pos x="39" y="49"/>
                </a:cxn>
                <a:cxn ang="0">
                  <a:pos x="30" y="49"/>
                </a:cxn>
                <a:cxn ang="0">
                  <a:pos x="23" y="48"/>
                </a:cxn>
                <a:cxn ang="0">
                  <a:pos x="15" y="47"/>
                </a:cxn>
                <a:cxn ang="0">
                  <a:pos x="9" y="45"/>
                </a:cxn>
                <a:cxn ang="0">
                  <a:pos x="5" y="42"/>
                </a:cxn>
                <a:cxn ang="0">
                  <a:pos x="2" y="39"/>
                </a:cxn>
                <a:cxn ang="0">
                  <a:pos x="1" y="35"/>
                </a:cxn>
                <a:cxn ang="0">
                  <a:pos x="0" y="31"/>
                </a:cxn>
                <a:cxn ang="0">
                  <a:pos x="1" y="26"/>
                </a:cxn>
                <a:cxn ang="0">
                  <a:pos x="2" y="21"/>
                </a:cxn>
                <a:cxn ang="0">
                  <a:pos x="5" y="17"/>
                </a:cxn>
                <a:cxn ang="0">
                  <a:pos x="8" y="14"/>
                </a:cxn>
                <a:cxn ang="0">
                  <a:pos x="13" y="10"/>
                </a:cxn>
                <a:cxn ang="0">
                  <a:pos x="18" y="7"/>
                </a:cxn>
                <a:cxn ang="0">
                  <a:pos x="24" y="5"/>
                </a:cxn>
                <a:cxn ang="0">
                  <a:pos x="29" y="4"/>
                </a:cxn>
                <a:cxn ang="0">
                  <a:pos x="42" y="1"/>
                </a:cxn>
                <a:cxn ang="0">
                  <a:pos x="56" y="0"/>
                </a:cxn>
                <a:cxn ang="0">
                  <a:pos x="69" y="0"/>
                </a:cxn>
                <a:cxn ang="0">
                  <a:pos x="80" y="0"/>
                </a:cxn>
                <a:cxn ang="0">
                  <a:pos x="94" y="1"/>
                </a:cxn>
                <a:cxn ang="0">
                  <a:pos x="106" y="4"/>
                </a:cxn>
                <a:cxn ang="0">
                  <a:pos x="117" y="7"/>
                </a:cxn>
                <a:cxn ang="0">
                  <a:pos x="128" y="13"/>
                </a:cxn>
                <a:cxn ang="0">
                  <a:pos x="139" y="17"/>
                </a:cxn>
                <a:cxn ang="0">
                  <a:pos x="150" y="21"/>
                </a:cxn>
                <a:cxn ang="0">
                  <a:pos x="161" y="24"/>
                </a:cxn>
                <a:cxn ang="0">
                  <a:pos x="172" y="25"/>
                </a:cxn>
                <a:cxn ang="0">
                  <a:pos x="172" y="43"/>
                </a:cxn>
                <a:cxn ang="0">
                  <a:pos x="169" y="48"/>
                </a:cxn>
                <a:cxn ang="0">
                  <a:pos x="165" y="53"/>
                </a:cxn>
                <a:cxn ang="0">
                  <a:pos x="161" y="57"/>
                </a:cxn>
                <a:cxn ang="0">
                  <a:pos x="158" y="60"/>
                </a:cxn>
                <a:cxn ang="0">
                  <a:pos x="153" y="62"/>
                </a:cxn>
                <a:cxn ang="0">
                  <a:pos x="149" y="63"/>
                </a:cxn>
                <a:cxn ang="0">
                  <a:pos x="146" y="65"/>
                </a:cxn>
                <a:cxn ang="0">
                  <a:pos x="141" y="65"/>
                </a:cxn>
                <a:cxn ang="0">
                  <a:pos x="131" y="65"/>
                </a:cxn>
                <a:cxn ang="0">
                  <a:pos x="121" y="63"/>
                </a:cxn>
                <a:cxn ang="0">
                  <a:pos x="112" y="59"/>
                </a:cxn>
                <a:cxn ang="0">
                  <a:pos x="99" y="55"/>
                </a:cxn>
                <a:cxn ang="0">
                  <a:pos x="106" y="55"/>
                </a:cxn>
                <a:cxn ang="0">
                  <a:pos x="119" y="61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56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/>
              <a:ahLst/>
              <a:cxnLst>
                <a:cxn ang="0">
                  <a:pos x="27" y="49"/>
                </a:cxn>
                <a:cxn ang="0">
                  <a:pos x="47" y="49"/>
                </a:cxn>
                <a:cxn ang="0">
                  <a:pos x="64" y="48"/>
                </a:cxn>
                <a:cxn ang="0">
                  <a:pos x="78" y="46"/>
                </a:cxn>
                <a:cxn ang="0">
                  <a:pos x="90" y="43"/>
                </a:cxn>
                <a:cxn ang="0">
                  <a:pos x="96" y="39"/>
                </a:cxn>
                <a:cxn ang="0">
                  <a:pos x="100" y="37"/>
                </a:cxn>
                <a:cxn ang="0">
                  <a:pos x="104" y="34"/>
                </a:cxn>
                <a:cxn ang="0">
                  <a:pos x="108" y="31"/>
                </a:cxn>
                <a:cxn ang="0">
                  <a:pos x="114" y="22"/>
                </a:cxn>
                <a:cxn ang="0">
                  <a:pos x="120" y="12"/>
                </a:cxn>
                <a:cxn ang="0">
                  <a:pos x="102" y="6"/>
                </a:cxn>
                <a:cxn ang="0">
                  <a:pos x="84" y="3"/>
                </a:cxn>
                <a:cxn ang="0">
                  <a:pos x="66" y="1"/>
                </a:cxn>
                <a:cxn ang="0">
                  <a:pos x="50" y="0"/>
                </a:cxn>
                <a:cxn ang="0">
                  <a:pos x="34" y="1"/>
                </a:cxn>
                <a:cxn ang="0">
                  <a:pos x="20" y="2"/>
                </a:cxn>
                <a:cxn ang="0">
                  <a:pos x="9" y="4"/>
                </a:cxn>
                <a:cxn ang="0">
                  <a:pos x="0" y="6"/>
                </a:cxn>
                <a:cxn ang="0">
                  <a:pos x="0" y="30"/>
                </a:cxn>
                <a:cxn ang="0">
                  <a:pos x="2" y="35"/>
                </a:cxn>
                <a:cxn ang="0">
                  <a:pos x="6" y="38"/>
                </a:cxn>
                <a:cxn ang="0">
                  <a:pos x="9" y="41"/>
                </a:cxn>
                <a:cxn ang="0">
                  <a:pos x="13" y="45"/>
                </a:cxn>
                <a:cxn ang="0">
                  <a:pos x="20" y="48"/>
                </a:cxn>
                <a:cxn ang="0">
                  <a:pos x="27" y="49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57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22" y="5"/>
                </a:cxn>
                <a:cxn ang="0">
                  <a:pos x="11" y="12"/>
                </a:cxn>
                <a:cxn ang="0">
                  <a:pos x="6" y="17"/>
                </a:cxn>
                <a:cxn ang="0">
                  <a:pos x="3" y="21"/>
                </a:cxn>
                <a:cxn ang="0">
                  <a:pos x="0" y="25"/>
                </a:cxn>
                <a:cxn ang="0">
                  <a:pos x="0" y="31"/>
                </a:cxn>
                <a:cxn ang="0">
                  <a:pos x="0" y="34"/>
                </a:cxn>
                <a:cxn ang="0">
                  <a:pos x="1" y="37"/>
                </a:cxn>
                <a:cxn ang="0">
                  <a:pos x="2" y="40"/>
                </a:cxn>
                <a:cxn ang="0">
                  <a:pos x="5" y="43"/>
                </a:cxn>
                <a:cxn ang="0">
                  <a:pos x="11" y="48"/>
                </a:cxn>
                <a:cxn ang="0">
                  <a:pos x="18" y="53"/>
                </a:cxn>
                <a:cxn ang="0">
                  <a:pos x="27" y="56"/>
                </a:cxn>
                <a:cxn ang="0">
                  <a:pos x="36" y="59"/>
                </a:cxn>
                <a:cxn ang="0">
                  <a:pos x="45" y="61"/>
                </a:cxn>
                <a:cxn ang="0">
                  <a:pos x="53" y="61"/>
                </a:cxn>
                <a:cxn ang="0">
                  <a:pos x="56" y="61"/>
                </a:cxn>
                <a:cxn ang="0">
                  <a:pos x="59" y="60"/>
                </a:cxn>
                <a:cxn ang="0">
                  <a:pos x="62" y="59"/>
                </a:cxn>
                <a:cxn ang="0">
                  <a:pos x="66" y="57"/>
                </a:cxn>
                <a:cxn ang="0">
                  <a:pos x="72" y="52"/>
                </a:cxn>
                <a:cxn ang="0">
                  <a:pos x="77" y="47"/>
                </a:cxn>
                <a:cxn ang="0">
                  <a:pos x="80" y="40"/>
                </a:cxn>
                <a:cxn ang="0">
                  <a:pos x="83" y="33"/>
                </a:cxn>
                <a:cxn ang="0">
                  <a:pos x="85" y="25"/>
                </a:cxn>
                <a:cxn ang="0">
                  <a:pos x="85" y="18"/>
                </a:cxn>
                <a:cxn ang="0">
                  <a:pos x="33" y="0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58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11"/>
                </a:cxn>
                <a:cxn ang="0">
                  <a:pos x="13" y="15"/>
                </a:cxn>
                <a:cxn ang="0">
                  <a:pos x="21" y="18"/>
                </a:cxn>
                <a:cxn ang="0">
                  <a:pos x="27" y="19"/>
                </a:cxn>
                <a:cxn ang="0">
                  <a:pos x="100" y="6"/>
                </a:cxn>
                <a:cxn ang="0">
                  <a:pos x="73" y="2"/>
                </a:cxn>
                <a:cxn ang="0">
                  <a:pos x="47" y="0"/>
                </a:cxn>
                <a:cxn ang="0">
                  <a:pos x="36" y="0"/>
                </a:cxn>
                <a:cxn ang="0">
                  <a:pos x="24" y="1"/>
                </a:cxn>
                <a:cxn ang="0">
                  <a:pos x="12" y="3"/>
                </a:cxn>
                <a:cxn ang="0">
                  <a:pos x="0" y="6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59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0" y="29"/>
                </a:cxn>
                <a:cxn ang="0">
                  <a:pos x="3" y="31"/>
                </a:cxn>
                <a:cxn ang="0">
                  <a:pos x="8" y="33"/>
                </a:cxn>
                <a:cxn ang="0">
                  <a:pos x="13" y="35"/>
                </a:cxn>
                <a:cxn ang="0">
                  <a:pos x="27" y="38"/>
                </a:cxn>
                <a:cxn ang="0">
                  <a:pos x="44" y="41"/>
                </a:cxn>
                <a:cxn ang="0">
                  <a:pos x="75" y="44"/>
                </a:cxn>
                <a:cxn ang="0">
                  <a:pos x="92" y="45"/>
                </a:cxn>
                <a:cxn ang="0">
                  <a:pos x="166" y="27"/>
                </a:cxn>
                <a:cxn ang="0">
                  <a:pos x="157" y="25"/>
                </a:cxn>
                <a:cxn ang="0">
                  <a:pos x="137" y="19"/>
                </a:cxn>
                <a:cxn ang="0">
                  <a:pos x="110" y="11"/>
                </a:cxn>
                <a:cxn ang="0">
                  <a:pos x="80" y="4"/>
                </a:cxn>
                <a:cxn ang="0">
                  <a:pos x="65" y="2"/>
                </a:cxn>
                <a:cxn ang="0">
                  <a:pos x="50" y="1"/>
                </a:cxn>
                <a:cxn ang="0">
                  <a:pos x="36" y="0"/>
                </a:cxn>
                <a:cxn ang="0">
                  <a:pos x="24" y="2"/>
                </a:cxn>
                <a:cxn ang="0">
                  <a:pos x="19" y="3"/>
                </a:cxn>
                <a:cxn ang="0">
                  <a:pos x="14" y="5"/>
                </a:cxn>
                <a:cxn ang="0">
                  <a:pos x="10" y="7"/>
                </a:cxn>
                <a:cxn ang="0">
                  <a:pos x="7" y="10"/>
                </a:cxn>
                <a:cxn ang="0">
                  <a:pos x="3" y="13"/>
                </a:cxn>
                <a:cxn ang="0">
                  <a:pos x="1" y="17"/>
                </a:cxn>
                <a:cxn ang="0">
                  <a:pos x="0" y="22"/>
                </a:cxn>
                <a:cxn ang="0">
                  <a:pos x="0" y="27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60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9"/>
                </a:cxn>
                <a:cxn ang="0">
                  <a:pos x="3" y="15"/>
                </a:cxn>
                <a:cxn ang="0">
                  <a:pos x="6" y="20"/>
                </a:cxn>
                <a:cxn ang="0">
                  <a:pos x="11" y="22"/>
                </a:cxn>
                <a:cxn ang="0">
                  <a:pos x="16" y="24"/>
                </a:cxn>
                <a:cxn ang="0">
                  <a:pos x="22" y="25"/>
                </a:cxn>
                <a:cxn ang="0">
                  <a:pos x="27" y="25"/>
                </a:cxn>
                <a:cxn ang="0">
                  <a:pos x="33" y="25"/>
                </a:cxn>
                <a:cxn ang="0">
                  <a:pos x="33" y="0"/>
                </a:cxn>
                <a:cxn ang="0">
                  <a:pos x="24" y="0"/>
                </a:cxn>
                <a:cxn ang="0">
                  <a:pos x="16" y="0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61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/>
              <a:ahLst/>
              <a:cxnLst>
                <a:cxn ang="0">
                  <a:pos x="0" y="62"/>
                </a:cxn>
                <a:cxn ang="0">
                  <a:pos x="12" y="56"/>
                </a:cxn>
                <a:cxn ang="0">
                  <a:pos x="22" y="50"/>
                </a:cxn>
                <a:cxn ang="0">
                  <a:pos x="30" y="43"/>
                </a:cxn>
                <a:cxn ang="0">
                  <a:pos x="37" y="36"/>
                </a:cxn>
                <a:cxn ang="0">
                  <a:pos x="41" y="28"/>
                </a:cxn>
                <a:cxn ang="0">
                  <a:pos x="44" y="19"/>
                </a:cxn>
                <a:cxn ang="0">
                  <a:pos x="47" y="9"/>
                </a:cxn>
                <a:cxn ang="0">
                  <a:pos x="48" y="0"/>
                </a:cxn>
                <a:cxn ang="0">
                  <a:pos x="40" y="3"/>
                </a:cxn>
                <a:cxn ang="0">
                  <a:pos x="32" y="6"/>
                </a:cxn>
                <a:cxn ang="0">
                  <a:pos x="23" y="10"/>
                </a:cxn>
                <a:cxn ang="0">
                  <a:pos x="17" y="15"/>
                </a:cxn>
                <a:cxn ang="0">
                  <a:pos x="10" y="21"/>
                </a:cxn>
                <a:cxn ang="0">
                  <a:pos x="6" y="27"/>
                </a:cxn>
                <a:cxn ang="0">
                  <a:pos x="4" y="31"/>
                </a:cxn>
                <a:cxn ang="0">
                  <a:pos x="3" y="35"/>
                </a:cxn>
                <a:cxn ang="0">
                  <a:pos x="1" y="39"/>
                </a:cxn>
                <a:cxn ang="0">
                  <a:pos x="0" y="43"/>
                </a:cxn>
                <a:cxn ang="0">
                  <a:pos x="0" y="52"/>
                </a:cxn>
                <a:cxn ang="0">
                  <a:pos x="0" y="62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62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/>
              <a:ahLst/>
              <a:cxnLst>
                <a:cxn ang="0">
                  <a:pos x="47" y="0"/>
                </a:cxn>
                <a:cxn ang="0">
                  <a:pos x="36" y="7"/>
                </a:cxn>
                <a:cxn ang="0">
                  <a:pos x="23" y="17"/>
                </a:cxn>
                <a:cxn ang="0">
                  <a:pos x="11" y="27"/>
                </a:cxn>
                <a:cxn ang="0">
                  <a:pos x="0" y="37"/>
                </a:cxn>
                <a:cxn ang="0">
                  <a:pos x="22" y="46"/>
                </a:cxn>
                <a:cxn ang="0">
                  <a:pos x="41" y="54"/>
                </a:cxn>
                <a:cxn ang="0">
                  <a:pos x="51" y="57"/>
                </a:cxn>
                <a:cxn ang="0">
                  <a:pos x="62" y="59"/>
                </a:cxn>
                <a:cxn ang="0">
                  <a:pos x="73" y="61"/>
                </a:cxn>
                <a:cxn ang="0">
                  <a:pos x="87" y="62"/>
                </a:cxn>
                <a:cxn ang="0">
                  <a:pos x="97" y="61"/>
                </a:cxn>
                <a:cxn ang="0">
                  <a:pos x="106" y="58"/>
                </a:cxn>
                <a:cxn ang="0">
                  <a:pos x="109" y="56"/>
                </a:cxn>
                <a:cxn ang="0">
                  <a:pos x="111" y="54"/>
                </a:cxn>
                <a:cxn ang="0">
                  <a:pos x="113" y="52"/>
                </a:cxn>
                <a:cxn ang="0">
                  <a:pos x="113" y="49"/>
                </a:cxn>
                <a:cxn ang="0">
                  <a:pos x="91" y="41"/>
                </a:cxn>
                <a:cxn ang="0">
                  <a:pos x="70" y="32"/>
                </a:cxn>
                <a:cxn ang="0">
                  <a:pos x="65" y="29"/>
                </a:cxn>
                <a:cxn ang="0">
                  <a:pos x="61" y="26"/>
                </a:cxn>
                <a:cxn ang="0">
                  <a:pos x="57" y="23"/>
                </a:cxn>
                <a:cxn ang="0">
                  <a:pos x="54" y="20"/>
                </a:cxn>
                <a:cxn ang="0">
                  <a:pos x="51" y="16"/>
                </a:cxn>
                <a:cxn ang="0">
                  <a:pos x="48" y="10"/>
                </a:cxn>
                <a:cxn ang="0">
                  <a:pos x="47" y="5"/>
                </a:cxn>
                <a:cxn ang="0">
                  <a:pos x="47" y="0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63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" y="0"/>
                </a:cxn>
                <a:cxn ang="0">
                  <a:pos x="30" y="1"/>
                </a:cxn>
                <a:cxn ang="0">
                  <a:pos x="45" y="2"/>
                </a:cxn>
                <a:cxn ang="0">
                  <a:pos x="59" y="5"/>
                </a:cxn>
                <a:cxn ang="0">
                  <a:pos x="64" y="7"/>
                </a:cxn>
                <a:cxn ang="0">
                  <a:pos x="71" y="9"/>
                </a:cxn>
                <a:cxn ang="0">
                  <a:pos x="75" y="12"/>
                </a:cxn>
                <a:cxn ang="0">
                  <a:pos x="81" y="16"/>
                </a:cxn>
                <a:cxn ang="0">
                  <a:pos x="85" y="20"/>
                </a:cxn>
                <a:cxn ang="0">
                  <a:pos x="89" y="25"/>
                </a:cxn>
                <a:cxn ang="0">
                  <a:pos x="91" y="30"/>
                </a:cxn>
                <a:cxn ang="0">
                  <a:pos x="93" y="37"/>
                </a:cxn>
                <a:cxn ang="0">
                  <a:pos x="79" y="37"/>
                </a:cxn>
                <a:cxn ang="0">
                  <a:pos x="68" y="39"/>
                </a:cxn>
                <a:cxn ang="0">
                  <a:pos x="60" y="41"/>
                </a:cxn>
                <a:cxn ang="0">
                  <a:pos x="52" y="43"/>
                </a:cxn>
                <a:cxn ang="0">
                  <a:pos x="42" y="47"/>
                </a:cxn>
                <a:cxn ang="0">
                  <a:pos x="33" y="50"/>
                </a:cxn>
                <a:cxn ang="0">
                  <a:pos x="30" y="50"/>
                </a:cxn>
                <a:cxn ang="0">
                  <a:pos x="28" y="48"/>
                </a:cxn>
                <a:cxn ang="0">
                  <a:pos x="26" y="47"/>
                </a:cxn>
                <a:cxn ang="0">
                  <a:pos x="25" y="45"/>
                </a:cxn>
                <a:cxn ang="0">
                  <a:pos x="23" y="41"/>
                </a:cxn>
                <a:cxn ang="0">
                  <a:pos x="22" y="36"/>
                </a:cxn>
                <a:cxn ang="0">
                  <a:pos x="22" y="31"/>
                </a:cxn>
                <a:cxn ang="0">
                  <a:pos x="23" y="26"/>
                </a:cxn>
                <a:cxn ang="0">
                  <a:pos x="24" y="22"/>
                </a:cxn>
                <a:cxn ang="0">
                  <a:pos x="26" y="19"/>
                </a:cxn>
                <a:cxn ang="0">
                  <a:pos x="0" y="19"/>
                </a:cxn>
                <a:cxn ang="0">
                  <a:pos x="0" y="0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64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/>
              <a:ahLst/>
              <a:cxnLst>
                <a:cxn ang="0">
                  <a:pos x="20" y="112"/>
                </a:cxn>
                <a:cxn ang="0">
                  <a:pos x="67" y="60"/>
                </a:cxn>
                <a:cxn ang="0">
                  <a:pos x="266" y="0"/>
                </a:cxn>
                <a:cxn ang="0">
                  <a:pos x="205" y="47"/>
                </a:cxn>
                <a:cxn ang="0">
                  <a:pos x="180" y="105"/>
                </a:cxn>
                <a:cxn ang="0">
                  <a:pos x="274" y="60"/>
                </a:cxn>
                <a:cxn ang="0">
                  <a:pos x="397" y="14"/>
                </a:cxn>
                <a:cxn ang="0">
                  <a:pos x="438" y="23"/>
                </a:cxn>
                <a:cxn ang="0">
                  <a:pos x="433" y="71"/>
                </a:cxn>
                <a:cxn ang="0">
                  <a:pos x="581" y="80"/>
                </a:cxn>
                <a:cxn ang="0">
                  <a:pos x="675" y="89"/>
                </a:cxn>
                <a:cxn ang="0">
                  <a:pos x="749" y="111"/>
                </a:cxn>
                <a:cxn ang="0">
                  <a:pos x="749" y="134"/>
                </a:cxn>
                <a:cxn ang="0">
                  <a:pos x="711" y="184"/>
                </a:cxn>
                <a:cxn ang="0">
                  <a:pos x="799" y="168"/>
                </a:cxn>
                <a:cxn ang="0">
                  <a:pos x="866" y="191"/>
                </a:cxn>
                <a:cxn ang="0">
                  <a:pos x="856" y="239"/>
                </a:cxn>
                <a:cxn ang="0">
                  <a:pos x="788" y="248"/>
                </a:cxn>
                <a:cxn ang="0">
                  <a:pos x="859" y="284"/>
                </a:cxn>
                <a:cxn ang="0">
                  <a:pos x="903" y="327"/>
                </a:cxn>
                <a:cxn ang="0">
                  <a:pos x="977" y="329"/>
                </a:cxn>
                <a:cxn ang="0">
                  <a:pos x="1029" y="351"/>
                </a:cxn>
                <a:cxn ang="0">
                  <a:pos x="939" y="409"/>
                </a:cxn>
                <a:cxn ang="0">
                  <a:pos x="899" y="417"/>
                </a:cxn>
                <a:cxn ang="0">
                  <a:pos x="874" y="443"/>
                </a:cxn>
                <a:cxn ang="0">
                  <a:pos x="830" y="414"/>
                </a:cxn>
                <a:cxn ang="0">
                  <a:pos x="851" y="393"/>
                </a:cxn>
                <a:cxn ang="0">
                  <a:pos x="792" y="379"/>
                </a:cxn>
                <a:cxn ang="0">
                  <a:pos x="759" y="364"/>
                </a:cxn>
                <a:cxn ang="0">
                  <a:pos x="744" y="394"/>
                </a:cxn>
                <a:cxn ang="0">
                  <a:pos x="747" y="445"/>
                </a:cxn>
                <a:cxn ang="0">
                  <a:pos x="795" y="523"/>
                </a:cxn>
                <a:cxn ang="0">
                  <a:pos x="771" y="547"/>
                </a:cxn>
                <a:cxn ang="0">
                  <a:pos x="708" y="556"/>
                </a:cxn>
                <a:cxn ang="0">
                  <a:pos x="618" y="517"/>
                </a:cxn>
                <a:cxn ang="0">
                  <a:pos x="668" y="567"/>
                </a:cxn>
                <a:cxn ang="0">
                  <a:pos x="665" y="604"/>
                </a:cxn>
                <a:cxn ang="0">
                  <a:pos x="518" y="570"/>
                </a:cxn>
                <a:cxn ang="0">
                  <a:pos x="471" y="523"/>
                </a:cxn>
                <a:cxn ang="0">
                  <a:pos x="410" y="473"/>
                </a:cxn>
                <a:cxn ang="0">
                  <a:pos x="367" y="453"/>
                </a:cxn>
                <a:cxn ang="0">
                  <a:pos x="392" y="433"/>
                </a:cxn>
                <a:cxn ang="0">
                  <a:pos x="459" y="399"/>
                </a:cxn>
                <a:cxn ang="0">
                  <a:pos x="500" y="378"/>
                </a:cxn>
                <a:cxn ang="0">
                  <a:pos x="577" y="380"/>
                </a:cxn>
                <a:cxn ang="0">
                  <a:pos x="614" y="395"/>
                </a:cxn>
                <a:cxn ang="0">
                  <a:pos x="687" y="387"/>
                </a:cxn>
                <a:cxn ang="0">
                  <a:pos x="581" y="355"/>
                </a:cxn>
                <a:cxn ang="0">
                  <a:pos x="542" y="361"/>
                </a:cxn>
                <a:cxn ang="0">
                  <a:pos x="539" y="350"/>
                </a:cxn>
                <a:cxn ang="0">
                  <a:pos x="576" y="306"/>
                </a:cxn>
                <a:cxn ang="0">
                  <a:pos x="576" y="274"/>
                </a:cxn>
                <a:cxn ang="0">
                  <a:pos x="524" y="254"/>
                </a:cxn>
                <a:cxn ang="0">
                  <a:pos x="473" y="198"/>
                </a:cxn>
                <a:cxn ang="0">
                  <a:pos x="434" y="168"/>
                </a:cxn>
                <a:cxn ang="0">
                  <a:pos x="408" y="163"/>
                </a:cxn>
                <a:cxn ang="0">
                  <a:pos x="378" y="203"/>
                </a:cxn>
                <a:cxn ang="0">
                  <a:pos x="207" y="174"/>
                </a:cxn>
                <a:cxn ang="0">
                  <a:pos x="114" y="189"/>
                </a:cxn>
                <a:cxn ang="0">
                  <a:pos x="79" y="187"/>
                </a:cxn>
                <a:cxn ang="0">
                  <a:pos x="16" y="180"/>
                </a:cxn>
                <a:cxn ang="0">
                  <a:pos x="9" y="158"/>
                </a:cxn>
                <a:cxn ang="0">
                  <a:pos x="75" y="149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65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/>
              <a:ahLst/>
              <a:cxnLst>
                <a:cxn ang="0">
                  <a:pos x="797" y="38"/>
                </a:cxn>
                <a:cxn ang="0">
                  <a:pos x="813" y="16"/>
                </a:cxn>
                <a:cxn ang="0">
                  <a:pos x="846" y="10"/>
                </a:cxn>
                <a:cxn ang="0">
                  <a:pos x="865" y="25"/>
                </a:cxn>
                <a:cxn ang="0">
                  <a:pos x="938" y="14"/>
                </a:cxn>
                <a:cxn ang="0">
                  <a:pos x="1020" y="1"/>
                </a:cxn>
                <a:cxn ang="0">
                  <a:pos x="1084" y="17"/>
                </a:cxn>
                <a:cxn ang="0">
                  <a:pos x="1133" y="20"/>
                </a:cxn>
                <a:cxn ang="0">
                  <a:pos x="1268" y="32"/>
                </a:cxn>
                <a:cxn ang="0">
                  <a:pos x="1242" y="50"/>
                </a:cxn>
                <a:cxn ang="0">
                  <a:pos x="1163" y="64"/>
                </a:cxn>
                <a:cxn ang="0">
                  <a:pos x="1053" y="77"/>
                </a:cxn>
                <a:cxn ang="0">
                  <a:pos x="1029" y="96"/>
                </a:cxn>
                <a:cxn ang="0">
                  <a:pos x="999" y="104"/>
                </a:cxn>
                <a:cxn ang="0">
                  <a:pos x="942" y="102"/>
                </a:cxn>
                <a:cxn ang="0">
                  <a:pos x="930" y="118"/>
                </a:cxn>
                <a:cxn ang="0">
                  <a:pos x="747" y="133"/>
                </a:cxn>
                <a:cxn ang="0">
                  <a:pos x="666" y="156"/>
                </a:cxn>
                <a:cxn ang="0">
                  <a:pos x="635" y="181"/>
                </a:cxn>
                <a:cxn ang="0">
                  <a:pos x="591" y="167"/>
                </a:cxn>
                <a:cxn ang="0">
                  <a:pos x="570" y="181"/>
                </a:cxn>
                <a:cxn ang="0">
                  <a:pos x="590" y="207"/>
                </a:cxn>
                <a:cxn ang="0">
                  <a:pos x="545" y="237"/>
                </a:cxn>
                <a:cxn ang="0">
                  <a:pos x="483" y="236"/>
                </a:cxn>
                <a:cxn ang="0">
                  <a:pos x="404" y="242"/>
                </a:cxn>
                <a:cxn ang="0">
                  <a:pos x="405" y="257"/>
                </a:cxn>
                <a:cxn ang="0">
                  <a:pos x="392" y="293"/>
                </a:cxn>
                <a:cxn ang="0">
                  <a:pos x="333" y="320"/>
                </a:cxn>
                <a:cxn ang="0">
                  <a:pos x="290" y="296"/>
                </a:cxn>
                <a:cxn ang="0">
                  <a:pos x="253" y="285"/>
                </a:cxn>
                <a:cxn ang="0">
                  <a:pos x="96" y="276"/>
                </a:cxn>
                <a:cxn ang="0">
                  <a:pos x="0" y="285"/>
                </a:cxn>
                <a:cxn ang="0">
                  <a:pos x="10" y="266"/>
                </a:cxn>
                <a:cxn ang="0">
                  <a:pos x="56" y="246"/>
                </a:cxn>
                <a:cxn ang="0">
                  <a:pos x="143" y="235"/>
                </a:cxn>
                <a:cxn ang="0">
                  <a:pos x="170" y="225"/>
                </a:cxn>
                <a:cxn ang="0">
                  <a:pos x="190" y="217"/>
                </a:cxn>
                <a:cxn ang="0">
                  <a:pos x="219" y="232"/>
                </a:cxn>
                <a:cxn ang="0">
                  <a:pos x="247" y="247"/>
                </a:cxn>
                <a:cxn ang="0">
                  <a:pos x="208" y="207"/>
                </a:cxn>
                <a:cxn ang="0">
                  <a:pos x="193" y="200"/>
                </a:cxn>
                <a:cxn ang="0">
                  <a:pos x="197" y="181"/>
                </a:cxn>
                <a:cxn ang="0">
                  <a:pos x="246" y="174"/>
                </a:cxn>
                <a:cxn ang="0">
                  <a:pos x="365" y="186"/>
                </a:cxn>
                <a:cxn ang="0">
                  <a:pos x="418" y="174"/>
                </a:cxn>
                <a:cxn ang="0">
                  <a:pos x="322" y="169"/>
                </a:cxn>
                <a:cxn ang="0">
                  <a:pos x="299" y="149"/>
                </a:cxn>
                <a:cxn ang="0">
                  <a:pos x="378" y="137"/>
                </a:cxn>
                <a:cxn ang="0">
                  <a:pos x="438" y="155"/>
                </a:cxn>
                <a:cxn ang="0">
                  <a:pos x="478" y="124"/>
                </a:cxn>
                <a:cxn ang="0">
                  <a:pos x="664" y="87"/>
                </a:cxn>
                <a:cxn ang="0">
                  <a:pos x="589" y="110"/>
                </a:cxn>
                <a:cxn ang="0">
                  <a:pos x="449" y="111"/>
                </a:cxn>
                <a:cxn ang="0">
                  <a:pos x="312" y="116"/>
                </a:cxn>
                <a:cxn ang="0">
                  <a:pos x="253" y="101"/>
                </a:cxn>
                <a:cxn ang="0">
                  <a:pos x="219" y="80"/>
                </a:cxn>
                <a:cxn ang="0">
                  <a:pos x="253" y="71"/>
                </a:cxn>
                <a:cxn ang="0">
                  <a:pos x="446" y="47"/>
                </a:cxn>
                <a:cxn ang="0">
                  <a:pos x="618" y="32"/>
                </a:cxn>
                <a:cxn ang="0">
                  <a:pos x="674" y="20"/>
                </a:cxn>
                <a:cxn ang="0">
                  <a:pos x="757" y="26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66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0"/>
                </a:cxn>
                <a:cxn ang="0">
                  <a:pos x="4" y="19"/>
                </a:cxn>
                <a:cxn ang="0">
                  <a:pos x="9" y="29"/>
                </a:cxn>
                <a:cxn ang="0">
                  <a:pos x="15" y="39"/>
                </a:cxn>
                <a:cxn ang="0">
                  <a:pos x="22" y="48"/>
                </a:cxn>
                <a:cxn ang="0">
                  <a:pos x="31" y="59"/>
                </a:cxn>
                <a:cxn ang="0">
                  <a:pos x="41" y="68"/>
                </a:cxn>
                <a:cxn ang="0">
                  <a:pos x="51" y="77"/>
                </a:cxn>
                <a:cxn ang="0">
                  <a:pos x="62" y="85"/>
                </a:cxn>
                <a:cxn ang="0">
                  <a:pos x="73" y="93"/>
                </a:cxn>
                <a:cxn ang="0">
                  <a:pos x="84" y="99"/>
                </a:cxn>
                <a:cxn ang="0">
                  <a:pos x="95" y="105"/>
                </a:cxn>
                <a:cxn ang="0">
                  <a:pos x="106" y="111"/>
                </a:cxn>
                <a:cxn ang="0">
                  <a:pos x="116" y="114"/>
                </a:cxn>
                <a:cxn ang="0">
                  <a:pos x="124" y="117"/>
                </a:cxn>
                <a:cxn ang="0">
                  <a:pos x="133" y="117"/>
                </a:cxn>
                <a:cxn ang="0">
                  <a:pos x="139" y="116"/>
                </a:cxn>
                <a:cxn ang="0">
                  <a:pos x="146" y="113"/>
                </a:cxn>
                <a:cxn ang="0">
                  <a:pos x="153" y="110"/>
                </a:cxn>
                <a:cxn ang="0">
                  <a:pos x="160" y="104"/>
                </a:cxn>
                <a:cxn ang="0">
                  <a:pos x="150" y="91"/>
                </a:cxn>
                <a:cxn ang="0">
                  <a:pos x="141" y="79"/>
                </a:cxn>
                <a:cxn ang="0">
                  <a:pos x="138" y="73"/>
                </a:cxn>
                <a:cxn ang="0">
                  <a:pos x="135" y="66"/>
                </a:cxn>
                <a:cxn ang="0">
                  <a:pos x="133" y="58"/>
                </a:cxn>
                <a:cxn ang="0">
                  <a:pos x="133" y="49"/>
                </a:cxn>
                <a:cxn ang="0">
                  <a:pos x="127" y="48"/>
                </a:cxn>
                <a:cxn ang="0">
                  <a:pos x="118" y="45"/>
                </a:cxn>
                <a:cxn ang="0">
                  <a:pos x="108" y="40"/>
                </a:cxn>
                <a:cxn ang="0">
                  <a:pos x="97" y="34"/>
                </a:cxn>
                <a:cxn ang="0">
                  <a:pos x="87" y="28"/>
                </a:cxn>
                <a:cxn ang="0">
                  <a:pos x="77" y="21"/>
                </a:cxn>
                <a:cxn ang="0">
                  <a:pos x="74" y="17"/>
                </a:cxn>
                <a:cxn ang="0">
                  <a:pos x="71" y="13"/>
                </a:cxn>
                <a:cxn ang="0">
                  <a:pos x="68" y="10"/>
                </a:cxn>
                <a:cxn ang="0">
                  <a:pos x="66" y="6"/>
                </a:cxn>
                <a:cxn ang="0">
                  <a:pos x="60" y="6"/>
                </a:cxn>
                <a:cxn ang="0">
                  <a:pos x="52" y="6"/>
                </a:cxn>
                <a:cxn ang="0">
                  <a:pos x="43" y="4"/>
                </a:cxn>
                <a:cxn ang="0">
                  <a:pos x="33" y="0"/>
                </a:cxn>
                <a:cxn ang="0">
                  <a:pos x="0" y="0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67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/>
              <a:ahLst/>
              <a:cxnLst>
                <a:cxn ang="0">
                  <a:pos x="40" y="123"/>
                </a:cxn>
                <a:cxn ang="0">
                  <a:pos x="80" y="36"/>
                </a:cxn>
                <a:cxn ang="0">
                  <a:pos x="80" y="18"/>
                </a:cxn>
                <a:cxn ang="0">
                  <a:pos x="68" y="17"/>
                </a:cxn>
                <a:cxn ang="0">
                  <a:pos x="59" y="16"/>
                </a:cxn>
                <a:cxn ang="0">
                  <a:pos x="53" y="14"/>
                </a:cxn>
                <a:cxn ang="0">
                  <a:pos x="47" y="11"/>
                </a:cxn>
                <a:cxn ang="0">
                  <a:pos x="44" y="8"/>
                </a:cxn>
                <a:cxn ang="0">
                  <a:pos x="42" y="5"/>
                </a:cxn>
                <a:cxn ang="0">
                  <a:pos x="41" y="2"/>
                </a:cxn>
                <a:cxn ang="0">
                  <a:pos x="40" y="0"/>
                </a:cxn>
                <a:cxn ang="0">
                  <a:pos x="0" y="0"/>
                </a:cxn>
                <a:cxn ang="0">
                  <a:pos x="0" y="23"/>
                </a:cxn>
                <a:cxn ang="0">
                  <a:pos x="0" y="40"/>
                </a:cxn>
                <a:cxn ang="0">
                  <a:pos x="0" y="52"/>
                </a:cxn>
                <a:cxn ang="0">
                  <a:pos x="0" y="61"/>
                </a:cxn>
                <a:cxn ang="0">
                  <a:pos x="1" y="69"/>
                </a:cxn>
                <a:cxn ang="0">
                  <a:pos x="3" y="78"/>
                </a:cxn>
                <a:cxn ang="0">
                  <a:pos x="7" y="88"/>
                </a:cxn>
                <a:cxn ang="0">
                  <a:pos x="11" y="99"/>
                </a:cxn>
                <a:cxn ang="0">
                  <a:pos x="20" y="121"/>
                </a:cxn>
                <a:cxn ang="0">
                  <a:pos x="27" y="141"/>
                </a:cxn>
                <a:cxn ang="0">
                  <a:pos x="31" y="135"/>
                </a:cxn>
                <a:cxn ang="0">
                  <a:pos x="33" y="129"/>
                </a:cxn>
                <a:cxn ang="0">
                  <a:pos x="34" y="127"/>
                </a:cxn>
                <a:cxn ang="0">
                  <a:pos x="36" y="125"/>
                </a:cxn>
                <a:cxn ang="0">
                  <a:pos x="38" y="123"/>
                </a:cxn>
                <a:cxn ang="0">
                  <a:pos x="40" y="123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68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/>
              <a:ahLst/>
              <a:cxnLst>
                <a:cxn ang="0">
                  <a:pos x="0" y="93"/>
                </a:cxn>
                <a:cxn ang="0">
                  <a:pos x="0" y="96"/>
                </a:cxn>
                <a:cxn ang="0">
                  <a:pos x="2" y="100"/>
                </a:cxn>
                <a:cxn ang="0">
                  <a:pos x="4" y="103"/>
                </a:cxn>
                <a:cxn ang="0">
                  <a:pos x="6" y="106"/>
                </a:cxn>
                <a:cxn ang="0">
                  <a:pos x="14" y="111"/>
                </a:cxn>
                <a:cxn ang="0">
                  <a:pos x="23" y="115"/>
                </a:cxn>
                <a:cxn ang="0">
                  <a:pos x="31" y="120"/>
                </a:cxn>
                <a:cxn ang="0">
                  <a:pos x="41" y="122"/>
                </a:cxn>
                <a:cxn ang="0">
                  <a:pos x="51" y="124"/>
                </a:cxn>
                <a:cxn ang="0">
                  <a:pos x="60" y="124"/>
                </a:cxn>
                <a:cxn ang="0">
                  <a:pos x="68" y="124"/>
                </a:cxn>
                <a:cxn ang="0">
                  <a:pos x="75" y="123"/>
                </a:cxn>
                <a:cxn ang="0">
                  <a:pos x="81" y="122"/>
                </a:cxn>
                <a:cxn ang="0">
                  <a:pos x="87" y="120"/>
                </a:cxn>
                <a:cxn ang="0">
                  <a:pos x="97" y="114"/>
                </a:cxn>
                <a:cxn ang="0">
                  <a:pos x="106" y="108"/>
                </a:cxn>
                <a:cxn ang="0">
                  <a:pos x="115" y="103"/>
                </a:cxn>
                <a:cxn ang="0">
                  <a:pos x="125" y="98"/>
                </a:cxn>
                <a:cxn ang="0">
                  <a:pos x="130" y="96"/>
                </a:cxn>
                <a:cxn ang="0">
                  <a:pos x="137" y="94"/>
                </a:cxn>
                <a:cxn ang="0">
                  <a:pos x="145" y="93"/>
                </a:cxn>
                <a:cxn ang="0">
                  <a:pos x="152" y="93"/>
                </a:cxn>
                <a:cxn ang="0">
                  <a:pos x="162" y="94"/>
                </a:cxn>
                <a:cxn ang="0">
                  <a:pos x="171" y="96"/>
                </a:cxn>
                <a:cxn ang="0">
                  <a:pos x="180" y="99"/>
                </a:cxn>
                <a:cxn ang="0">
                  <a:pos x="188" y="103"/>
                </a:cxn>
                <a:cxn ang="0">
                  <a:pos x="204" y="111"/>
                </a:cxn>
                <a:cxn ang="0">
                  <a:pos x="219" y="117"/>
                </a:cxn>
                <a:cxn ang="0">
                  <a:pos x="259" y="117"/>
                </a:cxn>
                <a:cxn ang="0">
                  <a:pos x="259" y="99"/>
                </a:cxn>
                <a:cxn ang="0">
                  <a:pos x="252" y="98"/>
                </a:cxn>
                <a:cxn ang="0">
                  <a:pos x="244" y="96"/>
                </a:cxn>
                <a:cxn ang="0">
                  <a:pos x="236" y="94"/>
                </a:cxn>
                <a:cxn ang="0">
                  <a:pos x="226" y="93"/>
                </a:cxn>
                <a:cxn ang="0">
                  <a:pos x="230" y="85"/>
                </a:cxn>
                <a:cxn ang="0">
                  <a:pos x="236" y="79"/>
                </a:cxn>
                <a:cxn ang="0">
                  <a:pos x="240" y="74"/>
                </a:cxn>
                <a:cxn ang="0">
                  <a:pos x="246" y="69"/>
                </a:cxn>
                <a:cxn ang="0">
                  <a:pos x="238" y="61"/>
                </a:cxn>
                <a:cxn ang="0">
                  <a:pos x="230" y="56"/>
                </a:cxn>
                <a:cxn ang="0">
                  <a:pos x="222" y="50"/>
                </a:cxn>
                <a:cxn ang="0">
                  <a:pos x="214" y="46"/>
                </a:cxn>
                <a:cxn ang="0">
                  <a:pos x="197" y="37"/>
                </a:cxn>
                <a:cxn ang="0">
                  <a:pos x="182" y="30"/>
                </a:cxn>
                <a:cxn ang="0">
                  <a:pos x="166" y="23"/>
                </a:cxn>
                <a:cxn ang="0">
                  <a:pos x="153" y="17"/>
                </a:cxn>
                <a:cxn ang="0">
                  <a:pos x="147" y="13"/>
                </a:cxn>
                <a:cxn ang="0">
                  <a:pos x="141" y="10"/>
                </a:cxn>
                <a:cxn ang="0">
                  <a:pos x="137" y="5"/>
                </a:cxn>
                <a:cxn ang="0">
                  <a:pos x="132" y="0"/>
                </a:cxn>
                <a:cxn ang="0">
                  <a:pos x="124" y="3"/>
                </a:cxn>
                <a:cxn ang="0">
                  <a:pos x="114" y="7"/>
                </a:cxn>
                <a:cxn ang="0">
                  <a:pos x="105" y="12"/>
                </a:cxn>
                <a:cxn ang="0">
                  <a:pos x="95" y="17"/>
                </a:cxn>
                <a:cxn ang="0">
                  <a:pos x="75" y="29"/>
                </a:cxn>
                <a:cxn ang="0">
                  <a:pos x="57" y="42"/>
                </a:cxn>
                <a:cxn ang="0">
                  <a:pos x="38" y="56"/>
                </a:cxn>
                <a:cxn ang="0">
                  <a:pos x="23" y="70"/>
                </a:cxn>
                <a:cxn ang="0">
                  <a:pos x="9" y="83"/>
                </a:cxn>
                <a:cxn ang="0">
                  <a:pos x="0" y="93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69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7" y="35"/>
                </a:cxn>
                <a:cxn ang="0">
                  <a:pos x="14" y="38"/>
                </a:cxn>
                <a:cxn ang="0">
                  <a:pos x="20" y="42"/>
                </a:cxn>
                <a:cxn ang="0">
                  <a:pos x="26" y="47"/>
                </a:cxn>
                <a:cxn ang="0">
                  <a:pos x="32" y="51"/>
                </a:cxn>
                <a:cxn ang="0">
                  <a:pos x="36" y="54"/>
                </a:cxn>
                <a:cxn ang="0">
                  <a:pos x="41" y="56"/>
                </a:cxn>
                <a:cxn ang="0">
                  <a:pos x="47" y="57"/>
                </a:cxn>
                <a:cxn ang="0">
                  <a:pos x="55" y="57"/>
                </a:cxn>
                <a:cxn ang="0">
                  <a:pos x="62" y="56"/>
                </a:cxn>
                <a:cxn ang="0">
                  <a:pos x="70" y="55"/>
                </a:cxn>
                <a:cxn ang="0">
                  <a:pos x="77" y="53"/>
                </a:cxn>
                <a:cxn ang="0">
                  <a:pos x="83" y="50"/>
                </a:cxn>
                <a:cxn ang="0">
                  <a:pos x="89" y="48"/>
                </a:cxn>
                <a:cxn ang="0">
                  <a:pos x="93" y="44"/>
                </a:cxn>
                <a:cxn ang="0">
                  <a:pos x="97" y="40"/>
                </a:cxn>
                <a:cxn ang="0">
                  <a:pos x="106" y="32"/>
                </a:cxn>
                <a:cxn ang="0">
                  <a:pos x="112" y="23"/>
                </a:cxn>
                <a:cxn ang="0">
                  <a:pos x="116" y="13"/>
                </a:cxn>
                <a:cxn ang="0">
                  <a:pos x="119" y="1"/>
                </a:cxn>
                <a:cxn ang="0">
                  <a:pos x="101" y="0"/>
                </a:cxn>
                <a:cxn ang="0">
                  <a:pos x="82" y="0"/>
                </a:cxn>
                <a:cxn ang="0">
                  <a:pos x="63" y="2"/>
                </a:cxn>
                <a:cxn ang="0">
                  <a:pos x="45" y="5"/>
                </a:cxn>
                <a:cxn ang="0">
                  <a:pos x="36" y="7"/>
                </a:cxn>
                <a:cxn ang="0">
                  <a:pos x="28" y="10"/>
                </a:cxn>
                <a:cxn ang="0">
                  <a:pos x="22" y="13"/>
                </a:cxn>
                <a:cxn ang="0">
                  <a:pos x="15" y="16"/>
                </a:cxn>
                <a:cxn ang="0">
                  <a:pos x="10" y="19"/>
                </a:cxn>
                <a:cxn ang="0">
                  <a:pos x="5" y="23"/>
                </a:cxn>
                <a:cxn ang="0">
                  <a:pos x="2" y="27"/>
                </a:cxn>
                <a:cxn ang="0">
                  <a:pos x="0" y="32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70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6" y="51"/>
                </a:cxn>
                <a:cxn ang="0">
                  <a:pos x="9" y="52"/>
                </a:cxn>
                <a:cxn ang="0">
                  <a:pos x="13" y="52"/>
                </a:cxn>
                <a:cxn ang="0">
                  <a:pos x="17" y="52"/>
                </a:cxn>
                <a:cxn ang="0">
                  <a:pos x="24" y="50"/>
                </a:cxn>
                <a:cxn ang="0">
                  <a:pos x="34" y="50"/>
                </a:cxn>
                <a:cxn ang="0">
                  <a:pos x="43" y="49"/>
                </a:cxn>
                <a:cxn ang="0">
                  <a:pos x="53" y="48"/>
                </a:cxn>
                <a:cxn ang="0">
                  <a:pos x="62" y="47"/>
                </a:cxn>
                <a:cxn ang="0">
                  <a:pos x="70" y="43"/>
                </a:cxn>
                <a:cxn ang="0">
                  <a:pos x="79" y="40"/>
                </a:cxn>
                <a:cxn ang="0">
                  <a:pos x="88" y="36"/>
                </a:cxn>
                <a:cxn ang="0">
                  <a:pos x="97" y="31"/>
                </a:cxn>
                <a:cxn ang="0">
                  <a:pos x="107" y="24"/>
                </a:cxn>
                <a:cxn ang="0">
                  <a:pos x="107" y="0"/>
                </a:cxn>
                <a:cxn ang="0">
                  <a:pos x="98" y="1"/>
                </a:cxn>
                <a:cxn ang="0">
                  <a:pos x="86" y="3"/>
                </a:cxn>
                <a:cxn ang="0">
                  <a:pos x="72" y="7"/>
                </a:cxn>
                <a:cxn ang="0">
                  <a:pos x="56" y="13"/>
                </a:cxn>
                <a:cxn ang="0">
                  <a:pos x="41" y="20"/>
                </a:cxn>
                <a:cxn ang="0">
                  <a:pos x="25" y="28"/>
                </a:cxn>
                <a:cxn ang="0">
                  <a:pos x="19" y="33"/>
                </a:cxn>
                <a:cxn ang="0">
                  <a:pos x="12" y="38"/>
                </a:cxn>
                <a:cxn ang="0">
                  <a:pos x="6" y="43"/>
                </a:cxn>
                <a:cxn ang="0">
                  <a:pos x="0" y="50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71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/>
              <a:ahLst/>
              <a:cxnLst>
                <a:cxn ang="0">
                  <a:pos x="27" y="99"/>
                </a:cxn>
                <a:cxn ang="0">
                  <a:pos x="22" y="97"/>
                </a:cxn>
                <a:cxn ang="0">
                  <a:pos x="17" y="96"/>
                </a:cxn>
                <a:cxn ang="0">
                  <a:pos x="12" y="93"/>
                </a:cxn>
                <a:cxn ang="0">
                  <a:pos x="9" y="90"/>
                </a:cxn>
                <a:cxn ang="0">
                  <a:pos x="6" y="86"/>
                </a:cxn>
                <a:cxn ang="0">
                  <a:pos x="2" y="82"/>
                </a:cxn>
                <a:cxn ang="0">
                  <a:pos x="1" y="78"/>
                </a:cxn>
                <a:cxn ang="0">
                  <a:pos x="0" y="73"/>
                </a:cxn>
                <a:cxn ang="0">
                  <a:pos x="0" y="69"/>
                </a:cxn>
                <a:cxn ang="0">
                  <a:pos x="1" y="65"/>
                </a:cxn>
                <a:cxn ang="0">
                  <a:pos x="3" y="60"/>
                </a:cxn>
                <a:cxn ang="0">
                  <a:pos x="5" y="56"/>
                </a:cxn>
                <a:cxn ang="0">
                  <a:pos x="10" y="49"/>
                </a:cxn>
                <a:cxn ang="0">
                  <a:pos x="18" y="41"/>
                </a:cxn>
                <a:cxn ang="0">
                  <a:pos x="25" y="34"/>
                </a:cxn>
                <a:cxn ang="0">
                  <a:pos x="35" y="28"/>
                </a:cxn>
                <a:cxn ang="0">
                  <a:pos x="46" y="23"/>
                </a:cxn>
                <a:cxn ang="0">
                  <a:pos x="57" y="18"/>
                </a:cxn>
                <a:cxn ang="0">
                  <a:pos x="69" y="14"/>
                </a:cxn>
                <a:cxn ang="0">
                  <a:pos x="81" y="10"/>
                </a:cxn>
                <a:cxn ang="0">
                  <a:pos x="92" y="7"/>
                </a:cxn>
                <a:cxn ang="0">
                  <a:pos x="104" y="4"/>
                </a:cxn>
                <a:cxn ang="0">
                  <a:pos x="124" y="1"/>
                </a:cxn>
                <a:cxn ang="0">
                  <a:pos x="140" y="0"/>
                </a:cxn>
                <a:cxn ang="0">
                  <a:pos x="168" y="0"/>
                </a:cxn>
                <a:cxn ang="0">
                  <a:pos x="193" y="1"/>
                </a:cxn>
                <a:cxn ang="0">
                  <a:pos x="219" y="2"/>
                </a:cxn>
                <a:cxn ang="0">
                  <a:pos x="246" y="6"/>
                </a:cxn>
                <a:cxn ang="0">
                  <a:pos x="244" y="11"/>
                </a:cxn>
                <a:cxn ang="0">
                  <a:pos x="241" y="15"/>
                </a:cxn>
                <a:cxn ang="0">
                  <a:pos x="236" y="20"/>
                </a:cxn>
                <a:cxn ang="0">
                  <a:pos x="231" y="26"/>
                </a:cxn>
                <a:cxn ang="0">
                  <a:pos x="215" y="36"/>
                </a:cxn>
                <a:cxn ang="0">
                  <a:pos x="199" y="46"/>
                </a:cxn>
                <a:cxn ang="0">
                  <a:pos x="180" y="55"/>
                </a:cxn>
                <a:cxn ang="0">
                  <a:pos x="162" y="61"/>
                </a:cxn>
                <a:cxn ang="0">
                  <a:pos x="152" y="64"/>
                </a:cxn>
                <a:cxn ang="0">
                  <a:pos x="143" y="66"/>
                </a:cxn>
                <a:cxn ang="0">
                  <a:pos x="134" y="67"/>
                </a:cxn>
                <a:cxn ang="0">
                  <a:pos x="126" y="67"/>
                </a:cxn>
                <a:cxn ang="0">
                  <a:pos x="120" y="67"/>
                </a:cxn>
                <a:cxn ang="0">
                  <a:pos x="110" y="67"/>
                </a:cxn>
                <a:cxn ang="0">
                  <a:pos x="100" y="67"/>
                </a:cxn>
                <a:cxn ang="0">
                  <a:pos x="93" y="67"/>
                </a:cxn>
                <a:cxn ang="0">
                  <a:pos x="88" y="69"/>
                </a:cxn>
                <a:cxn ang="0">
                  <a:pos x="80" y="72"/>
                </a:cxn>
                <a:cxn ang="0">
                  <a:pos x="72" y="77"/>
                </a:cxn>
                <a:cxn ang="0">
                  <a:pos x="63" y="83"/>
                </a:cxn>
                <a:cxn ang="0">
                  <a:pos x="53" y="88"/>
                </a:cxn>
                <a:cxn ang="0">
                  <a:pos x="44" y="93"/>
                </a:cxn>
                <a:cxn ang="0">
                  <a:pos x="35" y="96"/>
                </a:cxn>
                <a:cxn ang="0">
                  <a:pos x="27" y="99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72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/>
              <a:ahLst/>
              <a:cxnLst>
                <a:cxn ang="0">
                  <a:pos x="33" y="88"/>
                </a:cxn>
                <a:cxn ang="0">
                  <a:pos x="10" y="78"/>
                </a:cxn>
                <a:cxn ang="0">
                  <a:pos x="0" y="55"/>
                </a:cxn>
                <a:cxn ang="0">
                  <a:pos x="20" y="37"/>
                </a:cxn>
                <a:cxn ang="0">
                  <a:pos x="40" y="37"/>
                </a:cxn>
                <a:cxn ang="0">
                  <a:pos x="61" y="37"/>
                </a:cxn>
                <a:cxn ang="0">
                  <a:pos x="72" y="36"/>
                </a:cxn>
                <a:cxn ang="0">
                  <a:pos x="83" y="33"/>
                </a:cxn>
                <a:cxn ang="0">
                  <a:pos x="104" y="23"/>
                </a:cxn>
                <a:cxn ang="0">
                  <a:pos x="123" y="11"/>
                </a:cxn>
                <a:cxn ang="0">
                  <a:pos x="146" y="0"/>
                </a:cxn>
                <a:cxn ang="0">
                  <a:pos x="161" y="8"/>
                </a:cxn>
                <a:cxn ang="0">
                  <a:pos x="181" y="12"/>
                </a:cxn>
                <a:cxn ang="0">
                  <a:pos x="190" y="10"/>
                </a:cxn>
                <a:cxn ang="0">
                  <a:pos x="201" y="6"/>
                </a:cxn>
                <a:cxn ang="0">
                  <a:pos x="213" y="0"/>
                </a:cxn>
                <a:cxn ang="0">
                  <a:pos x="232" y="6"/>
                </a:cxn>
                <a:cxn ang="0">
                  <a:pos x="228" y="18"/>
                </a:cxn>
                <a:cxn ang="0">
                  <a:pos x="219" y="25"/>
                </a:cxn>
                <a:cxn ang="0">
                  <a:pos x="207" y="30"/>
                </a:cxn>
                <a:cxn ang="0">
                  <a:pos x="201" y="43"/>
                </a:cxn>
                <a:cxn ang="0">
                  <a:pos x="206" y="62"/>
                </a:cxn>
                <a:cxn ang="0">
                  <a:pos x="185" y="85"/>
                </a:cxn>
                <a:cxn ang="0">
                  <a:pos x="157" y="96"/>
                </a:cxn>
                <a:cxn ang="0">
                  <a:pos x="139" y="98"/>
                </a:cxn>
                <a:cxn ang="0">
                  <a:pos x="116" y="100"/>
                </a:cxn>
                <a:cxn ang="0">
                  <a:pos x="96" y="106"/>
                </a:cxn>
                <a:cxn ang="0">
                  <a:pos x="82" y="115"/>
                </a:cxn>
                <a:cxn ang="0">
                  <a:pos x="67" y="122"/>
                </a:cxn>
                <a:cxn ang="0">
                  <a:pos x="58" y="122"/>
                </a:cxn>
                <a:cxn ang="0">
                  <a:pos x="53" y="115"/>
                </a:cxn>
                <a:cxn ang="0">
                  <a:pos x="48" y="100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73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/>
              <a:ahLst/>
              <a:cxnLst>
                <a:cxn ang="0">
                  <a:pos x="0" y="147"/>
                </a:cxn>
                <a:cxn ang="0">
                  <a:pos x="3" y="156"/>
                </a:cxn>
                <a:cxn ang="0">
                  <a:pos x="9" y="162"/>
                </a:cxn>
                <a:cxn ang="0">
                  <a:pos x="17" y="167"/>
                </a:cxn>
                <a:cxn ang="0">
                  <a:pos x="31" y="170"/>
                </a:cxn>
                <a:cxn ang="0">
                  <a:pos x="51" y="172"/>
                </a:cxn>
                <a:cxn ang="0">
                  <a:pos x="73" y="172"/>
                </a:cxn>
                <a:cxn ang="0">
                  <a:pos x="99" y="167"/>
                </a:cxn>
                <a:cxn ang="0">
                  <a:pos x="139" y="156"/>
                </a:cxn>
                <a:cxn ang="0">
                  <a:pos x="189" y="135"/>
                </a:cxn>
                <a:cxn ang="0">
                  <a:pos x="240" y="113"/>
                </a:cxn>
                <a:cxn ang="0">
                  <a:pos x="287" y="100"/>
                </a:cxn>
                <a:cxn ang="0">
                  <a:pos x="350" y="87"/>
                </a:cxn>
                <a:cxn ang="0">
                  <a:pos x="401" y="75"/>
                </a:cxn>
                <a:cxn ang="0">
                  <a:pos x="434" y="64"/>
                </a:cxn>
                <a:cxn ang="0">
                  <a:pos x="461" y="52"/>
                </a:cxn>
                <a:cxn ang="0">
                  <a:pos x="475" y="42"/>
                </a:cxn>
                <a:cxn ang="0">
                  <a:pos x="482" y="35"/>
                </a:cxn>
                <a:cxn ang="0">
                  <a:pos x="449" y="26"/>
                </a:cxn>
                <a:cxn ang="0">
                  <a:pos x="387" y="16"/>
                </a:cxn>
                <a:cxn ang="0">
                  <a:pos x="331" y="6"/>
                </a:cxn>
                <a:cxn ang="0">
                  <a:pos x="272" y="0"/>
                </a:cxn>
                <a:cxn ang="0">
                  <a:pos x="225" y="0"/>
                </a:cxn>
                <a:cxn ang="0">
                  <a:pos x="203" y="4"/>
                </a:cxn>
                <a:cxn ang="0">
                  <a:pos x="186" y="8"/>
                </a:cxn>
                <a:cxn ang="0">
                  <a:pos x="176" y="6"/>
                </a:cxn>
                <a:cxn ang="0">
                  <a:pos x="169" y="3"/>
                </a:cxn>
                <a:cxn ang="0">
                  <a:pos x="165" y="8"/>
                </a:cxn>
                <a:cxn ang="0">
                  <a:pos x="161" y="24"/>
                </a:cxn>
                <a:cxn ang="0">
                  <a:pos x="154" y="36"/>
                </a:cxn>
                <a:cxn ang="0">
                  <a:pos x="144" y="46"/>
                </a:cxn>
                <a:cxn ang="0">
                  <a:pos x="127" y="58"/>
                </a:cxn>
                <a:cxn ang="0">
                  <a:pos x="97" y="69"/>
                </a:cxn>
                <a:cxn ang="0">
                  <a:pos x="66" y="78"/>
                </a:cxn>
                <a:cxn ang="0">
                  <a:pos x="38" y="88"/>
                </a:cxn>
                <a:cxn ang="0">
                  <a:pos x="19" y="98"/>
                </a:cxn>
                <a:cxn ang="0">
                  <a:pos x="10" y="107"/>
                </a:cxn>
                <a:cxn ang="0">
                  <a:pos x="3" y="119"/>
                </a:cxn>
                <a:cxn ang="0">
                  <a:pos x="0" y="134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74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/>
              <a:ahLst/>
              <a:cxnLst>
                <a:cxn ang="0">
                  <a:pos x="317" y="5"/>
                </a:cxn>
                <a:cxn ang="0">
                  <a:pos x="304" y="27"/>
                </a:cxn>
                <a:cxn ang="0">
                  <a:pos x="297" y="41"/>
                </a:cxn>
                <a:cxn ang="0">
                  <a:pos x="299" y="43"/>
                </a:cxn>
                <a:cxn ang="0">
                  <a:pos x="337" y="39"/>
                </a:cxn>
                <a:cxn ang="0">
                  <a:pos x="372" y="19"/>
                </a:cxn>
                <a:cxn ang="0">
                  <a:pos x="379" y="38"/>
                </a:cxn>
                <a:cxn ang="0">
                  <a:pos x="377" y="55"/>
                </a:cxn>
                <a:cxn ang="0">
                  <a:pos x="405" y="69"/>
                </a:cxn>
                <a:cxn ang="0">
                  <a:pos x="511" y="51"/>
                </a:cxn>
                <a:cxn ang="0">
                  <a:pos x="514" y="70"/>
                </a:cxn>
                <a:cxn ang="0">
                  <a:pos x="541" y="63"/>
                </a:cxn>
                <a:cxn ang="0">
                  <a:pos x="557" y="45"/>
                </a:cxn>
                <a:cxn ang="0">
                  <a:pos x="558" y="19"/>
                </a:cxn>
                <a:cxn ang="0">
                  <a:pos x="563" y="8"/>
                </a:cxn>
                <a:cxn ang="0">
                  <a:pos x="579" y="0"/>
                </a:cxn>
                <a:cxn ang="0">
                  <a:pos x="624" y="3"/>
                </a:cxn>
                <a:cxn ang="0">
                  <a:pos x="645" y="0"/>
                </a:cxn>
                <a:cxn ang="0">
                  <a:pos x="657" y="39"/>
                </a:cxn>
                <a:cxn ang="0">
                  <a:pos x="653" y="70"/>
                </a:cxn>
                <a:cxn ang="0">
                  <a:pos x="637" y="101"/>
                </a:cxn>
                <a:cxn ang="0">
                  <a:pos x="618" y="124"/>
                </a:cxn>
                <a:cxn ang="0">
                  <a:pos x="648" y="137"/>
                </a:cxn>
                <a:cxn ang="0">
                  <a:pos x="672" y="145"/>
                </a:cxn>
                <a:cxn ang="0">
                  <a:pos x="684" y="180"/>
                </a:cxn>
                <a:cxn ang="0">
                  <a:pos x="639" y="185"/>
                </a:cxn>
                <a:cxn ang="0">
                  <a:pos x="608" y="181"/>
                </a:cxn>
                <a:cxn ang="0">
                  <a:pos x="574" y="180"/>
                </a:cxn>
                <a:cxn ang="0">
                  <a:pos x="564" y="184"/>
                </a:cxn>
                <a:cxn ang="0">
                  <a:pos x="542" y="200"/>
                </a:cxn>
                <a:cxn ang="0">
                  <a:pos x="524" y="209"/>
                </a:cxn>
                <a:cxn ang="0">
                  <a:pos x="493" y="209"/>
                </a:cxn>
                <a:cxn ang="0">
                  <a:pos x="452" y="204"/>
                </a:cxn>
                <a:cxn ang="0">
                  <a:pos x="422" y="198"/>
                </a:cxn>
                <a:cxn ang="0">
                  <a:pos x="337" y="211"/>
                </a:cxn>
                <a:cxn ang="0">
                  <a:pos x="231" y="230"/>
                </a:cxn>
                <a:cxn ang="0">
                  <a:pos x="169" y="238"/>
                </a:cxn>
                <a:cxn ang="0">
                  <a:pos x="124" y="238"/>
                </a:cxn>
                <a:cxn ang="0">
                  <a:pos x="100" y="228"/>
                </a:cxn>
                <a:cxn ang="0">
                  <a:pos x="67" y="208"/>
                </a:cxn>
                <a:cxn ang="0">
                  <a:pos x="29" y="196"/>
                </a:cxn>
                <a:cxn ang="0">
                  <a:pos x="0" y="173"/>
                </a:cxn>
                <a:cxn ang="0">
                  <a:pos x="64" y="159"/>
                </a:cxn>
                <a:cxn ang="0">
                  <a:pos x="100" y="154"/>
                </a:cxn>
                <a:cxn ang="0">
                  <a:pos x="156" y="160"/>
                </a:cxn>
                <a:cxn ang="0">
                  <a:pos x="201" y="165"/>
                </a:cxn>
                <a:cxn ang="0">
                  <a:pos x="224" y="162"/>
                </a:cxn>
                <a:cxn ang="0">
                  <a:pos x="26" y="136"/>
                </a:cxn>
                <a:cxn ang="0">
                  <a:pos x="52" y="128"/>
                </a:cxn>
                <a:cxn ang="0">
                  <a:pos x="109" y="117"/>
                </a:cxn>
                <a:cxn ang="0">
                  <a:pos x="165" y="108"/>
                </a:cxn>
                <a:cxn ang="0">
                  <a:pos x="187" y="99"/>
                </a:cxn>
                <a:cxn ang="0">
                  <a:pos x="166" y="93"/>
                </a:cxn>
                <a:cxn ang="0">
                  <a:pos x="125" y="98"/>
                </a:cxn>
                <a:cxn ang="0">
                  <a:pos x="71" y="110"/>
                </a:cxn>
                <a:cxn ang="0">
                  <a:pos x="52" y="106"/>
                </a:cxn>
                <a:cxn ang="0">
                  <a:pos x="55" y="90"/>
                </a:cxn>
                <a:cxn ang="0">
                  <a:pos x="54" y="81"/>
                </a:cxn>
                <a:cxn ang="0">
                  <a:pos x="59" y="78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75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/>
              <a:ahLst/>
              <a:cxnLst>
                <a:cxn ang="0">
                  <a:pos x="180" y="38"/>
                </a:cxn>
                <a:cxn ang="0">
                  <a:pos x="202" y="24"/>
                </a:cxn>
                <a:cxn ang="0">
                  <a:pos x="226" y="7"/>
                </a:cxn>
                <a:cxn ang="0">
                  <a:pos x="240" y="1"/>
                </a:cxn>
                <a:cxn ang="0">
                  <a:pos x="246" y="1"/>
                </a:cxn>
                <a:cxn ang="0">
                  <a:pos x="245" y="12"/>
                </a:cxn>
                <a:cxn ang="0">
                  <a:pos x="234" y="33"/>
                </a:cxn>
                <a:cxn ang="0">
                  <a:pos x="217" y="55"/>
                </a:cxn>
                <a:cxn ang="0">
                  <a:pos x="202" y="67"/>
                </a:cxn>
                <a:cxn ang="0">
                  <a:pos x="191" y="71"/>
                </a:cxn>
                <a:cxn ang="0">
                  <a:pos x="191" y="73"/>
                </a:cxn>
                <a:cxn ang="0">
                  <a:pos x="201" y="74"/>
                </a:cxn>
                <a:cxn ang="0">
                  <a:pos x="216" y="72"/>
                </a:cxn>
                <a:cxn ang="0">
                  <a:pos x="224" y="77"/>
                </a:cxn>
                <a:cxn ang="0">
                  <a:pos x="217" y="88"/>
                </a:cxn>
                <a:cxn ang="0">
                  <a:pos x="214" y="97"/>
                </a:cxn>
                <a:cxn ang="0">
                  <a:pos x="217" y="105"/>
                </a:cxn>
                <a:cxn ang="0">
                  <a:pos x="249" y="113"/>
                </a:cxn>
                <a:cxn ang="0">
                  <a:pos x="308" y="124"/>
                </a:cxn>
                <a:cxn ang="0">
                  <a:pos x="322" y="131"/>
                </a:cxn>
                <a:cxn ang="0">
                  <a:pos x="315" y="140"/>
                </a:cxn>
                <a:cxn ang="0">
                  <a:pos x="303" y="149"/>
                </a:cxn>
                <a:cxn ang="0">
                  <a:pos x="299" y="154"/>
                </a:cxn>
                <a:cxn ang="0">
                  <a:pos x="302" y="160"/>
                </a:cxn>
                <a:cxn ang="0">
                  <a:pos x="308" y="168"/>
                </a:cxn>
                <a:cxn ang="0">
                  <a:pos x="319" y="176"/>
                </a:cxn>
                <a:cxn ang="0">
                  <a:pos x="329" y="184"/>
                </a:cxn>
                <a:cxn ang="0">
                  <a:pos x="290" y="211"/>
                </a:cxn>
                <a:cxn ang="0">
                  <a:pos x="241" y="241"/>
                </a:cxn>
                <a:cxn ang="0">
                  <a:pos x="207" y="268"/>
                </a:cxn>
                <a:cxn ang="0">
                  <a:pos x="173" y="244"/>
                </a:cxn>
                <a:cxn ang="0">
                  <a:pos x="182" y="243"/>
                </a:cxn>
                <a:cxn ang="0">
                  <a:pos x="189" y="240"/>
                </a:cxn>
                <a:cxn ang="0">
                  <a:pos x="200" y="232"/>
                </a:cxn>
                <a:cxn ang="0">
                  <a:pos x="149" y="232"/>
                </a:cxn>
                <a:cxn ang="0">
                  <a:pos x="101" y="232"/>
                </a:cxn>
                <a:cxn ang="0">
                  <a:pos x="58" y="232"/>
                </a:cxn>
                <a:cxn ang="0">
                  <a:pos x="27" y="232"/>
                </a:cxn>
                <a:cxn ang="0">
                  <a:pos x="11" y="227"/>
                </a:cxn>
                <a:cxn ang="0">
                  <a:pos x="3" y="222"/>
                </a:cxn>
                <a:cxn ang="0">
                  <a:pos x="0" y="213"/>
                </a:cxn>
                <a:cxn ang="0">
                  <a:pos x="4" y="205"/>
                </a:cxn>
                <a:cxn ang="0">
                  <a:pos x="13" y="197"/>
                </a:cxn>
                <a:cxn ang="0">
                  <a:pos x="41" y="179"/>
                </a:cxn>
                <a:cxn ang="0">
                  <a:pos x="73" y="162"/>
                </a:cxn>
                <a:cxn ang="0">
                  <a:pos x="85" y="152"/>
                </a:cxn>
                <a:cxn ang="0">
                  <a:pos x="93" y="145"/>
                </a:cxn>
                <a:cxn ang="0">
                  <a:pos x="106" y="130"/>
                </a:cxn>
                <a:cxn ang="0">
                  <a:pos x="116" y="114"/>
                </a:cxn>
                <a:cxn ang="0">
                  <a:pos x="130" y="79"/>
                </a:cxn>
                <a:cxn ang="0">
                  <a:pos x="138" y="64"/>
                </a:cxn>
                <a:cxn ang="0">
                  <a:pos x="147" y="52"/>
                </a:cxn>
                <a:cxn ang="0">
                  <a:pos x="158" y="43"/>
                </a:cxn>
                <a:cxn ang="0">
                  <a:pos x="173" y="40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76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/>
              <a:ahLst/>
              <a:cxnLst>
                <a:cxn ang="0">
                  <a:pos x="106" y="86"/>
                </a:cxn>
                <a:cxn ang="0">
                  <a:pos x="119" y="81"/>
                </a:cxn>
                <a:cxn ang="0">
                  <a:pos x="133" y="76"/>
                </a:cxn>
                <a:cxn ang="0">
                  <a:pos x="148" y="72"/>
                </a:cxn>
                <a:cxn ang="0">
                  <a:pos x="164" y="69"/>
                </a:cxn>
                <a:cxn ang="0">
                  <a:pos x="197" y="63"/>
                </a:cxn>
                <a:cxn ang="0">
                  <a:pos x="231" y="57"/>
                </a:cxn>
                <a:cxn ang="0">
                  <a:pos x="247" y="53"/>
                </a:cxn>
                <a:cxn ang="0">
                  <a:pos x="264" y="50"/>
                </a:cxn>
                <a:cxn ang="0">
                  <a:pos x="279" y="46"/>
                </a:cxn>
                <a:cxn ang="0">
                  <a:pos x="294" y="40"/>
                </a:cxn>
                <a:cxn ang="0">
                  <a:pos x="309" y="35"/>
                </a:cxn>
                <a:cxn ang="0">
                  <a:pos x="322" y="28"/>
                </a:cxn>
                <a:cxn ang="0">
                  <a:pos x="334" y="21"/>
                </a:cxn>
                <a:cxn ang="0">
                  <a:pos x="345" y="13"/>
                </a:cxn>
                <a:cxn ang="0">
                  <a:pos x="335" y="12"/>
                </a:cxn>
                <a:cxn ang="0">
                  <a:pos x="326" y="11"/>
                </a:cxn>
                <a:cxn ang="0">
                  <a:pos x="317" y="9"/>
                </a:cxn>
                <a:cxn ang="0">
                  <a:pos x="309" y="6"/>
                </a:cxn>
                <a:cxn ang="0">
                  <a:pos x="300" y="4"/>
                </a:cxn>
                <a:cxn ang="0">
                  <a:pos x="291" y="2"/>
                </a:cxn>
                <a:cxn ang="0">
                  <a:pos x="281" y="1"/>
                </a:cxn>
                <a:cxn ang="0">
                  <a:pos x="272" y="0"/>
                </a:cxn>
                <a:cxn ang="0">
                  <a:pos x="259" y="1"/>
                </a:cxn>
                <a:cxn ang="0">
                  <a:pos x="245" y="3"/>
                </a:cxn>
                <a:cxn ang="0">
                  <a:pos x="227" y="5"/>
                </a:cxn>
                <a:cxn ang="0">
                  <a:pos x="209" y="9"/>
                </a:cxn>
                <a:cxn ang="0">
                  <a:pos x="168" y="18"/>
                </a:cxn>
                <a:cxn ang="0">
                  <a:pos x="126" y="29"/>
                </a:cxn>
                <a:cxn ang="0">
                  <a:pos x="104" y="36"/>
                </a:cxn>
                <a:cxn ang="0">
                  <a:pos x="85" y="42"/>
                </a:cxn>
                <a:cxn ang="0">
                  <a:pos x="66" y="50"/>
                </a:cxn>
                <a:cxn ang="0">
                  <a:pos x="47" y="58"/>
                </a:cxn>
                <a:cxn ang="0">
                  <a:pos x="32" y="65"/>
                </a:cxn>
                <a:cxn ang="0">
                  <a:pos x="19" y="72"/>
                </a:cxn>
                <a:cxn ang="0">
                  <a:pos x="8" y="79"/>
                </a:cxn>
                <a:cxn ang="0">
                  <a:pos x="0" y="86"/>
                </a:cxn>
                <a:cxn ang="0">
                  <a:pos x="106" y="86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77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/>
              <a:ahLst/>
              <a:cxnLst>
                <a:cxn ang="0">
                  <a:pos x="19" y="86"/>
                </a:cxn>
                <a:cxn ang="0">
                  <a:pos x="77" y="81"/>
                </a:cxn>
                <a:cxn ang="0">
                  <a:pos x="103" y="81"/>
                </a:cxn>
                <a:cxn ang="0">
                  <a:pos x="92" y="89"/>
                </a:cxn>
                <a:cxn ang="0">
                  <a:pos x="81" y="100"/>
                </a:cxn>
                <a:cxn ang="0">
                  <a:pos x="73" y="112"/>
                </a:cxn>
                <a:cxn ang="0">
                  <a:pos x="73" y="119"/>
                </a:cxn>
                <a:cxn ang="0">
                  <a:pos x="79" y="124"/>
                </a:cxn>
                <a:cxn ang="0">
                  <a:pos x="92" y="129"/>
                </a:cxn>
                <a:cxn ang="0">
                  <a:pos x="109" y="129"/>
                </a:cxn>
                <a:cxn ang="0">
                  <a:pos x="128" y="127"/>
                </a:cxn>
                <a:cxn ang="0">
                  <a:pos x="157" y="119"/>
                </a:cxn>
                <a:cxn ang="0">
                  <a:pos x="196" y="108"/>
                </a:cxn>
                <a:cxn ang="0">
                  <a:pos x="226" y="101"/>
                </a:cxn>
                <a:cxn ang="0">
                  <a:pos x="248" y="99"/>
                </a:cxn>
                <a:cxn ang="0">
                  <a:pos x="266" y="99"/>
                </a:cxn>
                <a:cxn ang="0">
                  <a:pos x="304" y="99"/>
                </a:cxn>
                <a:cxn ang="0">
                  <a:pos x="333" y="98"/>
                </a:cxn>
                <a:cxn ang="0">
                  <a:pos x="376" y="93"/>
                </a:cxn>
                <a:cxn ang="0">
                  <a:pos x="415" y="83"/>
                </a:cxn>
                <a:cxn ang="0">
                  <a:pos x="449" y="66"/>
                </a:cxn>
                <a:cxn ang="0">
                  <a:pos x="455" y="51"/>
                </a:cxn>
                <a:cxn ang="0">
                  <a:pos x="439" y="48"/>
                </a:cxn>
                <a:cxn ang="0">
                  <a:pos x="413" y="48"/>
                </a:cxn>
                <a:cxn ang="0">
                  <a:pos x="396" y="46"/>
                </a:cxn>
                <a:cxn ang="0">
                  <a:pos x="406" y="36"/>
                </a:cxn>
                <a:cxn ang="0">
                  <a:pos x="413" y="22"/>
                </a:cxn>
                <a:cxn ang="0">
                  <a:pos x="418" y="7"/>
                </a:cxn>
                <a:cxn ang="0">
                  <a:pos x="378" y="0"/>
                </a:cxn>
                <a:cxn ang="0">
                  <a:pos x="360" y="19"/>
                </a:cxn>
                <a:cxn ang="0">
                  <a:pos x="343" y="41"/>
                </a:cxn>
                <a:cxn ang="0">
                  <a:pos x="323" y="59"/>
                </a:cxn>
                <a:cxn ang="0">
                  <a:pos x="312" y="65"/>
                </a:cxn>
                <a:cxn ang="0">
                  <a:pos x="298" y="68"/>
                </a:cxn>
                <a:cxn ang="0">
                  <a:pos x="278" y="66"/>
                </a:cxn>
                <a:cxn ang="0">
                  <a:pos x="262" y="63"/>
                </a:cxn>
                <a:cxn ang="0">
                  <a:pos x="239" y="54"/>
                </a:cxn>
                <a:cxn ang="0">
                  <a:pos x="205" y="31"/>
                </a:cxn>
                <a:cxn ang="0">
                  <a:pos x="180" y="29"/>
                </a:cxn>
                <a:cxn ang="0">
                  <a:pos x="150" y="31"/>
                </a:cxn>
                <a:cxn ang="0">
                  <a:pos x="117" y="37"/>
                </a:cxn>
                <a:cxn ang="0">
                  <a:pos x="85" y="45"/>
                </a:cxn>
                <a:cxn ang="0">
                  <a:pos x="54" y="54"/>
                </a:cxn>
                <a:cxn ang="0">
                  <a:pos x="29" y="65"/>
                </a:cxn>
                <a:cxn ang="0">
                  <a:pos x="9" y="77"/>
                </a:cxn>
                <a:cxn ang="0">
                  <a:pos x="0" y="86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78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/>
              <a:ahLst/>
              <a:cxnLst>
                <a:cxn ang="0">
                  <a:pos x="63" y="0"/>
                </a:cxn>
                <a:cxn ang="0">
                  <a:pos x="44" y="0"/>
                </a:cxn>
                <a:cxn ang="0">
                  <a:pos x="24" y="0"/>
                </a:cxn>
                <a:cxn ang="0">
                  <a:pos x="12" y="3"/>
                </a:cxn>
                <a:cxn ang="0">
                  <a:pos x="7" y="8"/>
                </a:cxn>
                <a:cxn ang="0">
                  <a:pos x="7" y="16"/>
                </a:cxn>
                <a:cxn ang="0">
                  <a:pos x="10" y="23"/>
                </a:cxn>
                <a:cxn ang="0">
                  <a:pos x="15" y="32"/>
                </a:cxn>
                <a:cxn ang="0">
                  <a:pos x="14" y="41"/>
                </a:cxn>
                <a:cxn ang="0">
                  <a:pos x="4" y="50"/>
                </a:cxn>
                <a:cxn ang="0">
                  <a:pos x="1" y="57"/>
                </a:cxn>
                <a:cxn ang="0">
                  <a:pos x="2" y="64"/>
                </a:cxn>
                <a:cxn ang="0">
                  <a:pos x="14" y="69"/>
                </a:cxn>
                <a:cxn ang="0">
                  <a:pos x="48" y="76"/>
                </a:cxn>
                <a:cxn ang="0">
                  <a:pos x="109" y="85"/>
                </a:cxn>
                <a:cxn ang="0">
                  <a:pos x="167" y="91"/>
                </a:cxn>
                <a:cxn ang="0">
                  <a:pos x="365" y="92"/>
                </a:cxn>
                <a:cxn ang="0">
                  <a:pos x="374" y="81"/>
                </a:cxn>
                <a:cxn ang="0">
                  <a:pos x="385" y="75"/>
                </a:cxn>
                <a:cxn ang="0">
                  <a:pos x="397" y="73"/>
                </a:cxn>
                <a:cxn ang="0">
                  <a:pos x="411" y="73"/>
                </a:cxn>
                <a:cxn ang="0">
                  <a:pos x="441" y="76"/>
                </a:cxn>
                <a:cxn ang="0">
                  <a:pos x="456" y="76"/>
                </a:cxn>
                <a:cxn ang="0">
                  <a:pos x="472" y="73"/>
                </a:cxn>
                <a:cxn ang="0">
                  <a:pos x="465" y="33"/>
                </a:cxn>
                <a:cxn ang="0">
                  <a:pos x="453" y="26"/>
                </a:cxn>
                <a:cxn ang="0">
                  <a:pos x="443" y="18"/>
                </a:cxn>
                <a:cxn ang="0">
                  <a:pos x="432" y="13"/>
                </a:cxn>
                <a:cxn ang="0">
                  <a:pos x="416" y="12"/>
                </a:cxn>
                <a:cxn ang="0">
                  <a:pos x="396" y="15"/>
                </a:cxn>
                <a:cxn ang="0">
                  <a:pos x="367" y="22"/>
                </a:cxn>
                <a:cxn ang="0">
                  <a:pos x="328" y="33"/>
                </a:cxn>
                <a:cxn ang="0">
                  <a:pos x="298" y="39"/>
                </a:cxn>
                <a:cxn ang="0">
                  <a:pos x="276" y="42"/>
                </a:cxn>
                <a:cxn ang="0">
                  <a:pos x="236" y="42"/>
                </a:cxn>
                <a:cxn ang="0">
                  <a:pos x="191" y="42"/>
                </a:cxn>
                <a:cxn ang="0">
                  <a:pos x="156" y="42"/>
                </a:cxn>
                <a:cxn ang="0">
                  <a:pos x="120" y="42"/>
                </a:cxn>
                <a:cxn ang="0">
                  <a:pos x="91" y="41"/>
                </a:cxn>
                <a:cxn ang="0">
                  <a:pos x="78" y="36"/>
                </a:cxn>
                <a:cxn ang="0">
                  <a:pos x="70" y="27"/>
                </a:cxn>
                <a:cxn ang="0">
                  <a:pos x="67" y="17"/>
                </a:cxn>
                <a:cxn ang="0">
                  <a:pos x="69" y="8"/>
                </a:cxn>
                <a:cxn ang="0">
                  <a:pos x="74" y="2"/>
                </a:cxn>
                <a:cxn ang="0">
                  <a:pos x="74" y="0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79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/>
              <a:ahLst/>
              <a:cxnLst>
                <a:cxn ang="0">
                  <a:pos x="145" y="107"/>
                </a:cxn>
                <a:cxn ang="0">
                  <a:pos x="203" y="97"/>
                </a:cxn>
                <a:cxn ang="0">
                  <a:pos x="262" y="84"/>
                </a:cxn>
                <a:cxn ang="0">
                  <a:pos x="300" y="74"/>
                </a:cxn>
                <a:cxn ang="0">
                  <a:pos x="318" y="66"/>
                </a:cxn>
                <a:cxn ang="0">
                  <a:pos x="322" y="56"/>
                </a:cxn>
                <a:cxn ang="0">
                  <a:pos x="312" y="48"/>
                </a:cxn>
                <a:cxn ang="0">
                  <a:pos x="300" y="41"/>
                </a:cxn>
                <a:cxn ang="0">
                  <a:pos x="286" y="37"/>
                </a:cxn>
                <a:cxn ang="0">
                  <a:pos x="263" y="32"/>
                </a:cxn>
                <a:cxn ang="0">
                  <a:pos x="230" y="30"/>
                </a:cxn>
                <a:cxn ang="0">
                  <a:pos x="209" y="30"/>
                </a:cxn>
                <a:cxn ang="0">
                  <a:pos x="202" y="24"/>
                </a:cxn>
                <a:cxn ang="0">
                  <a:pos x="196" y="17"/>
                </a:cxn>
                <a:cxn ang="0">
                  <a:pos x="191" y="9"/>
                </a:cxn>
                <a:cxn ang="0">
                  <a:pos x="180" y="5"/>
                </a:cxn>
                <a:cxn ang="0">
                  <a:pos x="162" y="1"/>
                </a:cxn>
                <a:cxn ang="0">
                  <a:pos x="135" y="1"/>
                </a:cxn>
                <a:cxn ang="0">
                  <a:pos x="87" y="8"/>
                </a:cxn>
                <a:cxn ang="0">
                  <a:pos x="49" y="17"/>
                </a:cxn>
                <a:cxn ang="0">
                  <a:pos x="27" y="26"/>
                </a:cxn>
                <a:cxn ang="0">
                  <a:pos x="11" y="37"/>
                </a:cxn>
                <a:cxn ang="0">
                  <a:pos x="3" y="46"/>
                </a:cxn>
                <a:cxn ang="0">
                  <a:pos x="1" y="52"/>
                </a:cxn>
                <a:cxn ang="0">
                  <a:pos x="34" y="74"/>
                </a:cxn>
                <a:cxn ang="0">
                  <a:pos x="56" y="81"/>
                </a:cxn>
                <a:cxn ang="0">
                  <a:pos x="41" y="90"/>
                </a:cxn>
                <a:cxn ang="0">
                  <a:pos x="38" y="99"/>
                </a:cxn>
                <a:cxn ang="0">
                  <a:pos x="44" y="114"/>
                </a:cxn>
                <a:cxn ang="0">
                  <a:pos x="48" y="128"/>
                </a:cxn>
                <a:cxn ang="0">
                  <a:pos x="55" y="134"/>
                </a:cxn>
                <a:cxn ang="0">
                  <a:pos x="69" y="135"/>
                </a:cxn>
                <a:cxn ang="0">
                  <a:pos x="86" y="131"/>
                </a:cxn>
                <a:cxn ang="0">
                  <a:pos x="101" y="127"/>
                </a:cxn>
                <a:cxn ang="0">
                  <a:pos x="117" y="124"/>
                </a:cxn>
                <a:cxn ang="0">
                  <a:pos x="120" y="11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80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/>
              <a:ahLst/>
              <a:cxnLst>
                <a:cxn ang="0">
                  <a:pos x="46" y="53"/>
                </a:cxn>
                <a:cxn ang="0">
                  <a:pos x="40" y="52"/>
                </a:cxn>
                <a:cxn ang="0">
                  <a:pos x="34" y="49"/>
                </a:cxn>
                <a:cxn ang="0">
                  <a:pos x="26" y="45"/>
                </a:cxn>
                <a:cxn ang="0">
                  <a:pos x="18" y="38"/>
                </a:cxn>
                <a:cxn ang="0">
                  <a:pos x="10" y="31"/>
                </a:cxn>
                <a:cxn ang="0">
                  <a:pos x="5" y="24"/>
                </a:cxn>
                <a:cxn ang="0">
                  <a:pos x="3" y="21"/>
                </a:cxn>
                <a:cxn ang="0">
                  <a:pos x="1" y="17"/>
                </a:cxn>
                <a:cxn ang="0">
                  <a:pos x="0" y="13"/>
                </a:cxn>
                <a:cxn ang="0">
                  <a:pos x="0" y="10"/>
                </a:cxn>
                <a:cxn ang="0">
                  <a:pos x="21" y="10"/>
                </a:cxn>
                <a:cxn ang="0">
                  <a:pos x="39" y="10"/>
                </a:cxn>
                <a:cxn ang="0">
                  <a:pos x="52" y="10"/>
                </a:cxn>
                <a:cxn ang="0">
                  <a:pos x="59" y="10"/>
                </a:cxn>
                <a:cxn ang="0">
                  <a:pos x="83" y="6"/>
                </a:cxn>
                <a:cxn ang="0">
                  <a:pos x="117" y="0"/>
                </a:cxn>
                <a:cxn ang="0">
                  <a:pos x="125" y="0"/>
                </a:cxn>
                <a:cxn ang="0">
                  <a:pos x="132" y="0"/>
                </a:cxn>
                <a:cxn ang="0">
                  <a:pos x="140" y="0"/>
                </a:cxn>
                <a:cxn ang="0">
                  <a:pos x="147" y="2"/>
                </a:cxn>
                <a:cxn ang="0">
                  <a:pos x="151" y="5"/>
                </a:cxn>
                <a:cxn ang="0">
                  <a:pos x="155" y="9"/>
                </a:cxn>
                <a:cxn ang="0">
                  <a:pos x="158" y="15"/>
                </a:cxn>
                <a:cxn ang="0">
                  <a:pos x="159" y="22"/>
                </a:cxn>
                <a:cxn ang="0">
                  <a:pos x="158" y="30"/>
                </a:cxn>
                <a:cxn ang="0">
                  <a:pos x="155" y="37"/>
                </a:cxn>
                <a:cxn ang="0">
                  <a:pos x="151" y="44"/>
                </a:cxn>
                <a:cxn ang="0">
                  <a:pos x="146" y="48"/>
                </a:cxn>
                <a:cxn ang="0">
                  <a:pos x="139" y="52"/>
                </a:cxn>
                <a:cxn ang="0">
                  <a:pos x="132" y="54"/>
                </a:cxn>
                <a:cxn ang="0">
                  <a:pos x="124" y="55"/>
                </a:cxn>
                <a:cxn ang="0">
                  <a:pos x="115" y="56"/>
                </a:cxn>
                <a:cxn ang="0">
                  <a:pos x="77" y="55"/>
                </a:cxn>
                <a:cxn ang="0">
                  <a:pos x="46" y="53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81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/>
              <a:ahLst/>
              <a:cxnLst>
                <a:cxn ang="0">
                  <a:pos x="2931" y="1362"/>
                </a:cxn>
                <a:cxn ang="0">
                  <a:pos x="2556" y="1522"/>
                </a:cxn>
                <a:cxn ang="0">
                  <a:pos x="2312" y="1592"/>
                </a:cxn>
                <a:cxn ang="0">
                  <a:pos x="2294" y="1634"/>
                </a:cxn>
                <a:cxn ang="0">
                  <a:pos x="2177" y="1607"/>
                </a:cxn>
                <a:cxn ang="0">
                  <a:pos x="2279" y="1512"/>
                </a:cxn>
                <a:cxn ang="0">
                  <a:pos x="2166" y="1416"/>
                </a:cxn>
                <a:cxn ang="0">
                  <a:pos x="2094" y="1295"/>
                </a:cxn>
                <a:cxn ang="0">
                  <a:pos x="1947" y="1317"/>
                </a:cxn>
                <a:cxn ang="0">
                  <a:pos x="1771" y="1281"/>
                </a:cxn>
                <a:cxn ang="0">
                  <a:pos x="261" y="1235"/>
                </a:cxn>
                <a:cxn ang="0">
                  <a:pos x="127" y="1125"/>
                </a:cxn>
                <a:cxn ang="0">
                  <a:pos x="151" y="1040"/>
                </a:cxn>
                <a:cxn ang="0">
                  <a:pos x="147" y="927"/>
                </a:cxn>
                <a:cxn ang="0">
                  <a:pos x="259" y="859"/>
                </a:cxn>
                <a:cxn ang="0">
                  <a:pos x="250" y="747"/>
                </a:cxn>
                <a:cxn ang="0">
                  <a:pos x="128" y="665"/>
                </a:cxn>
                <a:cxn ang="0">
                  <a:pos x="602" y="114"/>
                </a:cxn>
                <a:cxn ang="0">
                  <a:pos x="1146" y="105"/>
                </a:cxn>
                <a:cxn ang="0">
                  <a:pos x="1296" y="117"/>
                </a:cxn>
                <a:cxn ang="0">
                  <a:pos x="1641" y="166"/>
                </a:cxn>
                <a:cxn ang="0">
                  <a:pos x="1771" y="206"/>
                </a:cxn>
                <a:cxn ang="0">
                  <a:pos x="2076" y="193"/>
                </a:cxn>
                <a:cxn ang="0">
                  <a:pos x="2286" y="216"/>
                </a:cxn>
                <a:cxn ang="0">
                  <a:pos x="2365" y="216"/>
                </a:cxn>
                <a:cxn ang="0">
                  <a:pos x="2518" y="123"/>
                </a:cxn>
                <a:cxn ang="0">
                  <a:pos x="2587" y="2"/>
                </a:cxn>
                <a:cxn ang="0">
                  <a:pos x="2644" y="105"/>
                </a:cxn>
                <a:cxn ang="0">
                  <a:pos x="2664" y="166"/>
                </a:cxn>
                <a:cxn ang="0">
                  <a:pos x="2716" y="196"/>
                </a:cxn>
                <a:cxn ang="0">
                  <a:pos x="2891" y="121"/>
                </a:cxn>
                <a:cxn ang="0">
                  <a:pos x="3036" y="135"/>
                </a:cxn>
                <a:cxn ang="0">
                  <a:pos x="2883" y="271"/>
                </a:cxn>
                <a:cxn ang="0">
                  <a:pos x="2790" y="289"/>
                </a:cxn>
                <a:cxn ang="0">
                  <a:pos x="2569" y="304"/>
                </a:cxn>
                <a:cxn ang="0">
                  <a:pos x="2501" y="402"/>
                </a:cxn>
                <a:cxn ang="0">
                  <a:pos x="2333" y="471"/>
                </a:cxn>
                <a:cxn ang="0">
                  <a:pos x="2087" y="625"/>
                </a:cxn>
                <a:cxn ang="0">
                  <a:pos x="2106" y="793"/>
                </a:cxn>
                <a:cxn ang="0">
                  <a:pos x="2360" y="907"/>
                </a:cxn>
                <a:cxn ang="0">
                  <a:pos x="2443" y="1059"/>
                </a:cxn>
                <a:cxn ang="0">
                  <a:pos x="2614" y="987"/>
                </a:cxn>
                <a:cxn ang="0">
                  <a:pos x="2848" y="785"/>
                </a:cxn>
                <a:cxn ang="0">
                  <a:pos x="2896" y="597"/>
                </a:cxn>
                <a:cxn ang="0">
                  <a:pos x="3156" y="500"/>
                </a:cxn>
                <a:cxn ang="0">
                  <a:pos x="3276" y="592"/>
                </a:cxn>
                <a:cxn ang="0">
                  <a:pos x="3226" y="736"/>
                </a:cxn>
                <a:cxn ang="0">
                  <a:pos x="3492" y="613"/>
                </a:cxn>
                <a:cxn ang="0">
                  <a:pos x="3545" y="774"/>
                </a:cxn>
                <a:cxn ang="0">
                  <a:pos x="3662" y="924"/>
                </a:cxn>
                <a:cxn ang="0">
                  <a:pos x="3616" y="961"/>
                </a:cxn>
                <a:cxn ang="0">
                  <a:pos x="3694" y="1028"/>
                </a:cxn>
                <a:cxn ang="0">
                  <a:pos x="3556" y="1108"/>
                </a:cxn>
                <a:cxn ang="0">
                  <a:pos x="3151" y="1168"/>
                </a:cxn>
                <a:cxn ang="0">
                  <a:pos x="2853" y="1335"/>
                </a:cxn>
                <a:cxn ang="0">
                  <a:pos x="2905" y="1337"/>
                </a:cxn>
                <a:cxn ang="0">
                  <a:pos x="3216" y="1256"/>
                </a:cxn>
                <a:cxn ang="0">
                  <a:pos x="3066" y="1298"/>
                </a:cxn>
                <a:cxn ang="0">
                  <a:pos x="3138" y="1391"/>
                </a:cxn>
                <a:cxn ang="0">
                  <a:pos x="3248" y="1473"/>
                </a:cxn>
                <a:cxn ang="0">
                  <a:pos x="3018" y="1564"/>
                </a:cxn>
                <a:cxn ang="0">
                  <a:pos x="3189" y="1466"/>
                </a:cxn>
                <a:cxn ang="0">
                  <a:pos x="3016" y="1484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2482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6281738" y="3541713"/>
            <a:ext cx="127000" cy="158750"/>
          </a:xfrm>
          <a:custGeom>
            <a:avLst/>
            <a:gdLst/>
            <a:ahLst/>
            <a:cxnLst>
              <a:cxn ang="0">
                <a:pos x="265" y="10"/>
              </a:cxn>
              <a:cxn ang="0">
                <a:pos x="276" y="37"/>
              </a:cxn>
              <a:cxn ang="0">
                <a:pos x="286" y="91"/>
              </a:cxn>
              <a:cxn ang="0">
                <a:pos x="292" y="144"/>
              </a:cxn>
              <a:cxn ang="0">
                <a:pos x="291" y="161"/>
              </a:cxn>
              <a:cxn ang="0">
                <a:pos x="286" y="179"/>
              </a:cxn>
              <a:cxn ang="0">
                <a:pos x="269" y="206"/>
              </a:cxn>
              <a:cxn ang="0">
                <a:pos x="231" y="185"/>
              </a:cxn>
              <a:cxn ang="0">
                <a:pos x="165" y="258"/>
              </a:cxn>
              <a:cxn ang="0">
                <a:pos x="132" y="278"/>
              </a:cxn>
              <a:cxn ang="0">
                <a:pos x="59" y="296"/>
              </a:cxn>
              <a:cxn ang="0">
                <a:pos x="32" y="308"/>
              </a:cxn>
              <a:cxn ang="0">
                <a:pos x="6" y="308"/>
              </a:cxn>
              <a:cxn ang="0">
                <a:pos x="9" y="297"/>
              </a:cxn>
              <a:cxn ang="0">
                <a:pos x="11" y="286"/>
              </a:cxn>
              <a:cxn ang="0">
                <a:pos x="7" y="265"/>
              </a:cxn>
              <a:cxn ang="0">
                <a:pos x="2" y="246"/>
              </a:cxn>
              <a:cxn ang="0">
                <a:pos x="0" y="228"/>
              </a:cxn>
              <a:cxn ang="0">
                <a:pos x="3" y="205"/>
              </a:cxn>
              <a:cxn ang="0">
                <a:pos x="12" y="188"/>
              </a:cxn>
              <a:cxn ang="0">
                <a:pos x="26" y="174"/>
              </a:cxn>
              <a:cxn ang="0">
                <a:pos x="42" y="161"/>
              </a:cxn>
              <a:cxn ang="0">
                <a:pos x="77" y="135"/>
              </a:cxn>
              <a:cxn ang="0">
                <a:pos x="93" y="119"/>
              </a:cxn>
              <a:cxn ang="0">
                <a:pos x="105" y="98"/>
              </a:cxn>
              <a:cxn ang="0">
                <a:pos x="98" y="96"/>
              </a:cxn>
              <a:cxn ang="0">
                <a:pos x="92" y="91"/>
              </a:cxn>
              <a:cxn ang="0">
                <a:pos x="82" y="73"/>
              </a:cxn>
              <a:cxn ang="0">
                <a:pos x="74" y="50"/>
              </a:cxn>
              <a:cxn ang="0">
                <a:pos x="72" y="24"/>
              </a:cxn>
              <a:cxn ang="0">
                <a:pos x="90" y="19"/>
              </a:cxn>
              <a:cxn ang="0">
                <a:pos x="105" y="20"/>
              </a:cxn>
              <a:cxn ang="0">
                <a:pos x="132" y="24"/>
              </a:cxn>
              <a:cxn ang="0">
                <a:pos x="169" y="21"/>
              </a:cxn>
              <a:cxn ang="0">
                <a:pos x="210" y="12"/>
              </a:cxn>
              <a:cxn ang="0">
                <a:pos x="259" y="0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483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6388100" y="3692525"/>
            <a:ext cx="6350" cy="57150"/>
          </a:xfrm>
          <a:custGeom>
            <a:avLst/>
            <a:gdLst/>
            <a:ahLst/>
            <a:cxnLst>
              <a:cxn ang="0">
                <a:pos x="11" y="0"/>
              </a:cxn>
              <a:cxn ang="0">
                <a:pos x="13" y="3"/>
              </a:cxn>
              <a:cxn ang="0">
                <a:pos x="14" y="7"/>
              </a:cxn>
              <a:cxn ang="0">
                <a:pos x="0" y="7"/>
              </a:cxn>
              <a:cxn ang="0">
                <a:pos x="11" y="0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484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5878514" y="2928938"/>
            <a:ext cx="249237" cy="500062"/>
          </a:xfrm>
          <a:custGeom>
            <a:avLst/>
            <a:gdLst/>
            <a:ahLst/>
            <a:cxnLst>
              <a:cxn ang="0">
                <a:pos x="81" y="115"/>
              </a:cxn>
              <a:cxn ang="0">
                <a:pos x="104" y="152"/>
              </a:cxn>
              <a:cxn ang="0">
                <a:pos x="111" y="180"/>
              </a:cxn>
              <a:cxn ang="0">
                <a:pos x="95" y="234"/>
              </a:cxn>
              <a:cxn ang="0">
                <a:pos x="96" y="325"/>
              </a:cxn>
              <a:cxn ang="0">
                <a:pos x="93" y="363"/>
              </a:cxn>
              <a:cxn ang="0">
                <a:pos x="82" y="396"/>
              </a:cxn>
              <a:cxn ang="0">
                <a:pos x="59" y="429"/>
              </a:cxn>
              <a:cxn ang="0">
                <a:pos x="31" y="461"/>
              </a:cxn>
              <a:cxn ang="0">
                <a:pos x="17" y="481"/>
              </a:cxn>
              <a:cxn ang="0">
                <a:pos x="2" y="542"/>
              </a:cxn>
              <a:cxn ang="0">
                <a:pos x="69" y="616"/>
              </a:cxn>
              <a:cxn ang="0">
                <a:pos x="69" y="634"/>
              </a:cxn>
              <a:cxn ang="0">
                <a:pos x="74" y="665"/>
              </a:cxn>
              <a:cxn ang="0">
                <a:pos x="74" y="696"/>
              </a:cxn>
              <a:cxn ang="0">
                <a:pos x="78" y="733"/>
              </a:cxn>
              <a:cxn ang="0">
                <a:pos x="94" y="778"/>
              </a:cxn>
              <a:cxn ang="0">
                <a:pos x="105" y="792"/>
              </a:cxn>
              <a:cxn ang="0">
                <a:pos x="68" y="794"/>
              </a:cxn>
              <a:cxn ang="0">
                <a:pos x="42" y="802"/>
              </a:cxn>
              <a:cxn ang="0">
                <a:pos x="36" y="812"/>
              </a:cxn>
              <a:cxn ang="0">
                <a:pos x="42" y="842"/>
              </a:cxn>
              <a:cxn ang="0">
                <a:pos x="69" y="876"/>
              </a:cxn>
              <a:cxn ang="0">
                <a:pos x="87" y="899"/>
              </a:cxn>
              <a:cxn ang="0">
                <a:pos x="100" y="927"/>
              </a:cxn>
              <a:cxn ang="0">
                <a:pos x="156" y="955"/>
              </a:cxn>
              <a:cxn ang="0">
                <a:pos x="189" y="942"/>
              </a:cxn>
              <a:cxn ang="0">
                <a:pos x="248" y="929"/>
              </a:cxn>
              <a:cxn ang="0">
                <a:pos x="279" y="921"/>
              </a:cxn>
              <a:cxn ang="0">
                <a:pos x="297" y="904"/>
              </a:cxn>
              <a:cxn ang="0">
                <a:pos x="302" y="892"/>
              </a:cxn>
              <a:cxn ang="0">
                <a:pos x="302" y="868"/>
              </a:cxn>
              <a:cxn ang="0">
                <a:pos x="338" y="871"/>
              </a:cxn>
              <a:cxn ang="0">
                <a:pos x="367" y="866"/>
              </a:cxn>
              <a:cxn ang="0">
                <a:pos x="389" y="856"/>
              </a:cxn>
              <a:cxn ang="0">
                <a:pos x="405" y="842"/>
              </a:cxn>
              <a:cxn ang="0">
                <a:pos x="432" y="807"/>
              </a:cxn>
              <a:cxn ang="0">
                <a:pos x="460" y="773"/>
              </a:cxn>
              <a:cxn ang="0">
                <a:pos x="477" y="760"/>
              </a:cxn>
              <a:cxn ang="0">
                <a:pos x="502" y="752"/>
              </a:cxn>
              <a:cxn ang="0">
                <a:pos x="521" y="745"/>
              </a:cxn>
              <a:cxn ang="0">
                <a:pos x="499" y="697"/>
              </a:cxn>
              <a:cxn ang="0">
                <a:pos x="484" y="653"/>
              </a:cxn>
              <a:cxn ang="0">
                <a:pos x="472" y="623"/>
              </a:cxn>
              <a:cxn ang="0">
                <a:pos x="481" y="610"/>
              </a:cxn>
              <a:cxn ang="0">
                <a:pos x="487" y="579"/>
              </a:cxn>
              <a:cxn ang="0">
                <a:pos x="494" y="541"/>
              </a:cxn>
              <a:cxn ang="0">
                <a:pos x="505" y="519"/>
              </a:cxn>
              <a:cxn ang="0">
                <a:pos x="532" y="486"/>
              </a:cxn>
              <a:cxn ang="0">
                <a:pos x="570" y="461"/>
              </a:cxn>
              <a:cxn ang="0">
                <a:pos x="129" y="0"/>
              </a:cxn>
              <a:cxn ang="0">
                <a:pos x="98" y="5"/>
              </a:cxn>
              <a:cxn ang="0">
                <a:pos x="69" y="24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485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5554664" y="2311400"/>
            <a:ext cx="15875" cy="57150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0" y="18"/>
              </a:cxn>
              <a:cxn ang="0">
                <a:pos x="23" y="36"/>
              </a:cxn>
              <a:cxn ang="0">
                <a:pos x="45" y="15"/>
              </a:cxn>
              <a:cxn ang="0">
                <a:pos x="26" y="0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grpSp>
        <p:nvGrpSpPr>
          <p:cNvPr id="2486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3854451" y="4371976"/>
            <a:ext cx="384175" cy="1031875"/>
            <a:chOff x="1589" y="3126"/>
            <a:chExt cx="290" cy="657"/>
          </a:xfrm>
        </p:grpSpPr>
        <p:sp>
          <p:nvSpPr>
            <p:cNvPr id="2487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/>
              <a:ahLst/>
              <a:cxnLst>
                <a:cxn ang="0">
                  <a:pos x="46" y="12"/>
                </a:cxn>
                <a:cxn ang="0">
                  <a:pos x="19" y="0"/>
                </a:cxn>
                <a:cxn ang="0">
                  <a:pos x="13" y="5"/>
                </a:cxn>
                <a:cxn ang="0">
                  <a:pos x="7" y="9"/>
                </a:cxn>
                <a:cxn ang="0">
                  <a:pos x="4" y="12"/>
                </a:cxn>
                <a:cxn ang="0">
                  <a:pos x="2" y="14"/>
                </a:cxn>
                <a:cxn ang="0">
                  <a:pos x="0" y="16"/>
                </a:cxn>
                <a:cxn ang="0">
                  <a:pos x="0" y="19"/>
                </a:cxn>
                <a:cxn ang="0">
                  <a:pos x="0" y="24"/>
                </a:cxn>
                <a:cxn ang="0">
                  <a:pos x="2" y="29"/>
                </a:cxn>
                <a:cxn ang="0">
                  <a:pos x="4" y="36"/>
                </a:cxn>
                <a:cxn ang="0">
                  <a:pos x="7" y="41"/>
                </a:cxn>
                <a:cxn ang="0">
                  <a:pos x="10" y="46"/>
                </a:cxn>
                <a:cxn ang="0">
                  <a:pos x="13" y="49"/>
                </a:cxn>
                <a:cxn ang="0">
                  <a:pos x="15" y="50"/>
                </a:cxn>
                <a:cxn ang="0">
                  <a:pos x="16" y="51"/>
                </a:cxn>
                <a:cxn ang="0">
                  <a:pos x="18" y="51"/>
                </a:cxn>
                <a:cxn ang="0">
                  <a:pos x="19" y="50"/>
                </a:cxn>
                <a:cxn ang="0">
                  <a:pos x="35" y="50"/>
                </a:cxn>
                <a:cxn ang="0">
                  <a:pos x="46" y="50"/>
                </a:cxn>
                <a:cxn ang="0">
                  <a:pos x="46" y="37"/>
                </a:cxn>
                <a:cxn ang="0">
                  <a:pos x="46" y="26"/>
                </a:cxn>
                <a:cxn ang="0">
                  <a:pos x="46" y="18"/>
                </a:cxn>
                <a:cxn ang="0">
                  <a:pos x="46" y="12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88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4"/>
                </a:cxn>
                <a:cxn ang="0">
                  <a:pos x="2" y="26"/>
                </a:cxn>
                <a:cxn ang="0">
                  <a:pos x="4" y="38"/>
                </a:cxn>
                <a:cxn ang="0">
                  <a:pos x="7" y="50"/>
                </a:cxn>
                <a:cxn ang="0">
                  <a:pos x="11" y="61"/>
                </a:cxn>
                <a:cxn ang="0">
                  <a:pos x="15" y="71"/>
                </a:cxn>
                <a:cxn ang="0">
                  <a:pos x="21" y="81"/>
                </a:cxn>
                <a:cxn ang="0">
                  <a:pos x="25" y="90"/>
                </a:cxn>
                <a:cxn ang="0">
                  <a:pos x="47" y="122"/>
                </a:cxn>
                <a:cxn ang="0">
                  <a:pos x="66" y="148"/>
                </a:cxn>
                <a:cxn ang="0">
                  <a:pos x="72" y="151"/>
                </a:cxn>
                <a:cxn ang="0">
                  <a:pos x="79" y="153"/>
                </a:cxn>
                <a:cxn ang="0">
                  <a:pos x="85" y="155"/>
                </a:cxn>
                <a:cxn ang="0">
                  <a:pos x="92" y="156"/>
                </a:cxn>
                <a:cxn ang="0">
                  <a:pos x="105" y="158"/>
                </a:cxn>
                <a:cxn ang="0">
                  <a:pos x="119" y="158"/>
                </a:cxn>
                <a:cxn ang="0">
                  <a:pos x="152" y="155"/>
                </a:cxn>
                <a:cxn ang="0">
                  <a:pos x="192" y="154"/>
                </a:cxn>
                <a:cxn ang="0">
                  <a:pos x="184" y="153"/>
                </a:cxn>
                <a:cxn ang="0">
                  <a:pos x="176" y="152"/>
                </a:cxn>
                <a:cxn ang="0">
                  <a:pos x="168" y="151"/>
                </a:cxn>
                <a:cxn ang="0">
                  <a:pos x="160" y="149"/>
                </a:cxn>
                <a:cxn ang="0">
                  <a:pos x="145" y="144"/>
                </a:cxn>
                <a:cxn ang="0">
                  <a:pos x="129" y="138"/>
                </a:cxn>
                <a:cxn ang="0">
                  <a:pos x="115" y="130"/>
                </a:cxn>
                <a:cxn ang="0">
                  <a:pos x="101" y="120"/>
                </a:cxn>
                <a:cxn ang="0">
                  <a:pos x="87" y="110"/>
                </a:cxn>
                <a:cxn ang="0">
                  <a:pos x="75" y="98"/>
                </a:cxn>
                <a:cxn ang="0">
                  <a:pos x="63" y="87"/>
                </a:cxn>
                <a:cxn ang="0">
                  <a:pos x="52" y="75"/>
                </a:cxn>
                <a:cxn ang="0">
                  <a:pos x="42" y="63"/>
                </a:cxn>
                <a:cxn ang="0">
                  <a:pos x="35" y="50"/>
                </a:cxn>
                <a:cxn ang="0">
                  <a:pos x="27" y="38"/>
                </a:cxn>
                <a:cxn ang="0">
                  <a:pos x="21" y="26"/>
                </a:cxn>
                <a:cxn ang="0">
                  <a:pos x="16" y="16"/>
                </a:cxn>
                <a:cxn ang="0">
                  <a:pos x="13" y="6"/>
                </a:cxn>
                <a:cxn ang="0">
                  <a:pos x="0" y="0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489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/>
              <a:ahLst/>
              <a:cxnLst>
                <a:cxn ang="0">
                  <a:pos x="772" y="415"/>
                </a:cxn>
                <a:cxn ang="0">
                  <a:pos x="873" y="342"/>
                </a:cxn>
                <a:cxn ang="0">
                  <a:pos x="884" y="232"/>
                </a:cxn>
                <a:cxn ang="0">
                  <a:pos x="840" y="192"/>
                </a:cxn>
                <a:cxn ang="0">
                  <a:pos x="841" y="262"/>
                </a:cxn>
                <a:cxn ang="0">
                  <a:pos x="774" y="328"/>
                </a:cxn>
                <a:cxn ang="0">
                  <a:pos x="667" y="331"/>
                </a:cxn>
                <a:cxn ang="0">
                  <a:pos x="625" y="290"/>
                </a:cxn>
                <a:cxn ang="0">
                  <a:pos x="658" y="215"/>
                </a:cxn>
                <a:cxn ang="0">
                  <a:pos x="544" y="148"/>
                </a:cxn>
                <a:cxn ang="0">
                  <a:pos x="425" y="87"/>
                </a:cxn>
                <a:cxn ang="0">
                  <a:pos x="373" y="10"/>
                </a:cxn>
                <a:cxn ang="0">
                  <a:pos x="286" y="22"/>
                </a:cxn>
                <a:cxn ang="0">
                  <a:pos x="234" y="24"/>
                </a:cxn>
                <a:cxn ang="0">
                  <a:pos x="171" y="8"/>
                </a:cxn>
                <a:cxn ang="0">
                  <a:pos x="98" y="54"/>
                </a:cxn>
                <a:cxn ang="0">
                  <a:pos x="67" y="116"/>
                </a:cxn>
                <a:cxn ang="0">
                  <a:pos x="27" y="179"/>
                </a:cxn>
                <a:cxn ang="0">
                  <a:pos x="55" y="251"/>
                </a:cxn>
                <a:cxn ang="0">
                  <a:pos x="51" y="319"/>
                </a:cxn>
                <a:cxn ang="0">
                  <a:pos x="0" y="432"/>
                </a:cxn>
                <a:cxn ang="0">
                  <a:pos x="12" y="609"/>
                </a:cxn>
                <a:cxn ang="0">
                  <a:pos x="76" y="696"/>
                </a:cxn>
                <a:cxn ang="0">
                  <a:pos x="60" y="753"/>
                </a:cxn>
                <a:cxn ang="0">
                  <a:pos x="60" y="808"/>
                </a:cxn>
                <a:cxn ang="0">
                  <a:pos x="81" y="850"/>
                </a:cxn>
                <a:cxn ang="0">
                  <a:pos x="53" y="900"/>
                </a:cxn>
                <a:cxn ang="0">
                  <a:pos x="82" y="983"/>
                </a:cxn>
                <a:cxn ang="0">
                  <a:pos x="81" y="1055"/>
                </a:cxn>
                <a:cxn ang="0">
                  <a:pos x="78" y="1152"/>
                </a:cxn>
                <a:cxn ang="0">
                  <a:pos x="137" y="1265"/>
                </a:cxn>
                <a:cxn ang="0">
                  <a:pos x="198" y="1394"/>
                </a:cxn>
                <a:cxn ang="0">
                  <a:pos x="217" y="1463"/>
                </a:cxn>
                <a:cxn ang="0">
                  <a:pos x="230" y="1526"/>
                </a:cxn>
                <a:cxn ang="0">
                  <a:pos x="213" y="1590"/>
                </a:cxn>
                <a:cxn ang="0">
                  <a:pos x="201" y="1644"/>
                </a:cxn>
                <a:cxn ang="0">
                  <a:pos x="228" y="1718"/>
                </a:cxn>
                <a:cxn ang="0">
                  <a:pos x="311" y="1772"/>
                </a:cxn>
                <a:cxn ang="0">
                  <a:pos x="392" y="1798"/>
                </a:cxn>
                <a:cxn ang="0">
                  <a:pos x="451" y="1786"/>
                </a:cxn>
                <a:cxn ang="0">
                  <a:pos x="454" y="1703"/>
                </a:cxn>
                <a:cxn ang="0">
                  <a:pos x="470" y="1612"/>
                </a:cxn>
                <a:cxn ang="0">
                  <a:pos x="495" y="1509"/>
                </a:cxn>
                <a:cxn ang="0">
                  <a:pos x="420" y="1486"/>
                </a:cxn>
                <a:cxn ang="0">
                  <a:pos x="401" y="1430"/>
                </a:cxn>
                <a:cxn ang="0">
                  <a:pos x="453" y="1395"/>
                </a:cxn>
                <a:cxn ang="0">
                  <a:pos x="484" y="1332"/>
                </a:cxn>
                <a:cxn ang="0">
                  <a:pos x="455" y="1224"/>
                </a:cxn>
                <a:cxn ang="0">
                  <a:pos x="425" y="1141"/>
                </a:cxn>
                <a:cxn ang="0">
                  <a:pos x="518" y="1166"/>
                </a:cxn>
                <a:cxn ang="0">
                  <a:pos x="568" y="1151"/>
                </a:cxn>
                <a:cxn ang="0">
                  <a:pos x="558" y="1078"/>
                </a:cxn>
                <a:cxn ang="0">
                  <a:pos x="565" y="1030"/>
                </a:cxn>
                <a:cxn ang="0">
                  <a:pos x="676" y="1023"/>
                </a:cxn>
                <a:cxn ang="0">
                  <a:pos x="795" y="973"/>
                </a:cxn>
                <a:cxn ang="0">
                  <a:pos x="816" y="882"/>
                </a:cxn>
                <a:cxn ang="0">
                  <a:pos x="781" y="852"/>
                </a:cxn>
                <a:cxn ang="0">
                  <a:pos x="758" y="810"/>
                </a:cxn>
                <a:cxn ang="0">
                  <a:pos x="692" y="752"/>
                </a:cxn>
                <a:cxn ang="0">
                  <a:pos x="701" y="532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2490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6564314" y="2324100"/>
            <a:ext cx="123825" cy="109538"/>
          </a:xfrm>
          <a:custGeom>
            <a:avLst/>
            <a:gdLst/>
            <a:ahLst/>
            <a:cxnLst>
              <a:cxn ang="0">
                <a:pos x="33" y="87"/>
              </a:cxn>
              <a:cxn ang="0">
                <a:pos x="59" y="142"/>
              </a:cxn>
              <a:cxn ang="0">
                <a:pos x="59" y="179"/>
              </a:cxn>
              <a:cxn ang="0">
                <a:pos x="102" y="196"/>
              </a:cxn>
              <a:cxn ang="0">
                <a:pos x="122" y="202"/>
              </a:cxn>
              <a:cxn ang="0">
                <a:pos x="139" y="204"/>
              </a:cxn>
              <a:cxn ang="0">
                <a:pos x="146" y="201"/>
              </a:cxn>
              <a:cxn ang="0">
                <a:pos x="151" y="194"/>
              </a:cxn>
              <a:cxn ang="0">
                <a:pos x="160" y="172"/>
              </a:cxn>
              <a:cxn ang="0">
                <a:pos x="172" y="149"/>
              </a:cxn>
              <a:cxn ang="0">
                <a:pos x="181" y="141"/>
              </a:cxn>
              <a:cxn ang="0">
                <a:pos x="192" y="136"/>
              </a:cxn>
              <a:cxn ang="0">
                <a:pos x="209" y="138"/>
              </a:cxn>
              <a:cxn ang="0">
                <a:pos x="220" y="142"/>
              </a:cxn>
              <a:cxn ang="0">
                <a:pos x="228" y="148"/>
              </a:cxn>
              <a:cxn ang="0">
                <a:pos x="231" y="154"/>
              </a:cxn>
              <a:cxn ang="0">
                <a:pos x="234" y="164"/>
              </a:cxn>
              <a:cxn ang="0">
                <a:pos x="231" y="167"/>
              </a:cxn>
              <a:cxn ang="0">
                <a:pos x="234" y="153"/>
              </a:cxn>
              <a:cxn ang="0">
                <a:pos x="238" y="140"/>
              </a:cxn>
              <a:cxn ang="0">
                <a:pos x="245" y="117"/>
              </a:cxn>
              <a:cxn ang="0">
                <a:pos x="254" y="115"/>
              </a:cxn>
              <a:cxn ang="0">
                <a:pos x="264" y="110"/>
              </a:cxn>
              <a:cxn ang="0">
                <a:pos x="279" y="99"/>
              </a:cxn>
              <a:cxn ang="0">
                <a:pos x="252" y="75"/>
              </a:cxn>
              <a:cxn ang="0">
                <a:pos x="227" y="58"/>
              </a:cxn>
              <a:cxn ang="0">
                <a:pos x="204" y="44"/>
              </a:cxn>
              <a:cxn ang="0">
                <a:pos x="185" y="31"/>
              </a:cxn>
              <a:cxn ang="0">
                <a:pos x="146" y="68"/>
              </a:cxn>
              <a:cxn ang="0">
                <a:pos x="79" y="25"/>
              </a:cxn>
              <a:cxn ang="0">
                <a:pos x="52" y="12"/>
              </a:cxn>
              <a:cxn ang="0">
                <a:pos x="46" y="62"/>
              </a:cxn>
              <a:cxn ang="0">
                <a:pos x="0" y="56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491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6030913" y="1897063"/>
            <a:ext cx="209550" cy="150812"/>
          </a:xfrm>
          <a:custGeom>
            <a:avLst/>
            <a:gdLst/>
            <a:ahLst/>
            <a:cxnLst>
              <a:cxn ang="0">
                <a:pos x="252" y="20"/>
              </a:cxn>
              <a:cxn ang="0">
                <a:pos x="300" y="44"/>
              </a:cxn>
              <a:cxn ang="0">
                <a:pos x="372" y="44"/>
              </a:cxn>
              <a:cxn ang="0">
                <a:pos x="425" y="131"/>
              </a:cxn>
              <a:cxn ang="0">
                <a:pos x="485" y="167"/>
              </a:cxn>
              <a:cxn ang="0">
                <a:pos x="412" y="173"/>
              </a:cxn>
              <a:cxn ang="0">
                <a:pos x="433" y="210"/>
              </a:cxn>
              <a:cxn ang="0">
                <a:pos x="392" y="241"/>
              </a:cxn>
              <a:cxn ang="0">
                <a:pos x="385" y="291"/>
              </a:cxn>
              <a:cxn ang="0">
                <a:pos x="285" y="266"/>
              </a:cxn>
              <a:cxn ang="0">
                <a:pos x="173" y="254"/>
              </a:cxn>
              <a:cxn ang="0">
                <a:pos x="60" y="266"/>
              </a:cxn>
              <a:cxn ang="0">
                <a:pos x="15" y="271"/>
              </a:cxn>
              <a:cxn ang="0">
                <a:pos x="8" y="257"/>
              </a:cxn>
              <a:cxn ang="0">
                <a:pos x="3" y="244"/>
              </a:cxn>
              <a:cxn ang="0">
                <a:pos x="0" y="229"/>
              </a:cxn>
              <a:cxn ang="0">
                <a:pos x="5" y="219"/>
              </a:cxn>
              <a:cxn ang="0">
                <a:pos x="14" y="207"/>
              </a:cxn>
              <a:cxn ang="0">
                <a:pos x="23" y="189"/>
              </a:cxn>
              <a:cxn ang="0">
                <a:pos x="31" y="166"/>
              </a:cxn>
              <a:cxn ang="0">
                <a:pos x="41" y="137"/>
              </a:cxn>
              <a:cxn ang="0">
                <a:pos x="48" y="126"/>
              </a:cxn>
              <a:cxn ang="0">
                <a:pos x="60" y="119"/>
              </a:cxn>
              <a:cxn ang="0">
                <a:pos x="87" y="111"/>
              </a:cxn>
              <a:cxn ang="0">
                <a:pos x="89" y="106"/>
              </a:cxn>
              <a:cxn ang="0">
                <a:pos x="94" y="100"/>
              </a:cxn>
              <a:cxn ang="0">
                <a:pos x="101" y="95"/>
              </a:cxn>
              <a:cxn ang="0">
                <a:pos x="106" y="93"/>
              </a:cxn>
              <a:cxn ang="0">
                <a:pos x="106" y="76"/>
              </a:cxn>
              <a:cxn ang="0">
                <a:pos x="109" y="70"/>
              </a:cxn>
              <a:cxn ang="0">
                <a:pos x="113" y="67"/>
              </a:cxn>
              <a:cxn ang="0">
                <a:pos x="122" y="69"/>
              </a:cxn>
              <a:cxn ang="0">
                <a:pos x="128" y="69"/>
              </a:cxn>
              <a:cxn ang="0">
                <a:pos x="132" y="66"/>
              </a:cxn>
              <a:cxn ang="0">
                <a:pos x="134" y="56"/>
              </a:cxn>
              <a:cxn ang="0">
                <a:pos x="139" y="44"/>
              </a:cxn>
              <a:cxn ang="0">
                <a:pos x="144" y="39"/>
              </a:cxn>
              <a:cxn ang="0">
                <a:pos x="213" y="0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492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5888038" y="2228851"/>
            <a:ext cx="82550" cy="87313"/>
          </a:xfrm>
          <a:custGeom>
            <a:avLst/>
            <a:gdLst/>
            <a:ahLst/>
            <a:cxnLst>
              <a:cxn ang="0">
                <a:pos x="86" y="147"/>
              </a:cxn>
              <a:cxn ang="0">
                <a:pos x="83" y="136"/>
              </a:cxn>
              <a:cxn ang="0">
                <a:pos x="78" y="127"/>
              </a:cxn>
              <a:cxn ang="0">
                <a:pos x="74" y="118"/>
              </a:cxn>
              <a:cxn ang="0">
                <a:pos x="70" y="110"/>
              </a:cxn>
              <a:cxn ang="0">
                <a:pos x="60" y="95"/>
              </a:cxn>
              <a:cxn ang="0">
                <a:pos x="49" y="82"/>
              </a:cxn>
              <a:cxn ang="0">
                <a:pos x="37" y="70"/>
              </a:cxn>
              <a:cxn ang="0">
                <a:pos x="25" y="56"/>
              </a:cxn>
              <a:cxn ang="0">
                <a:pos x="13" y="38"/>
              </a:cxn>
              <a:cxn ang="0">
                <a:pos x="0" y="18"/>
              </a:cxn>
              <a:cxn ang="0">
                <a:pos x="0" y="0"/>
              </a:cxn>
              <a:cxn ang="0">
                <a:pos x="7" y="2"/>
              </a:cxn>
              <a:cxn ang="0">
                <a:pos x="14" y="3"/>
              </a:cxn>
              <a:cxn ang="0">
                <a:pos x="20" y="4"/>
              </a:cxn>
              <a:cxn ang="0">
                <a:pos x="27" y="4"/>
              </a:cxn>
              <a:cxn ang="0">
                <a:pos x="33" y="4"/>
              </a:cxn>
              <a:cxn ang="0">
                <a:pos x="40" y="3"/>
              </a:cxn>
              <a:cxn ang="0">
                <a:pos x="47" y="2"/>
              </a:cxn>
              <a:cxn ang="0">
                <a:pos x="53" y="0"/>
              </a:cxn>
              <a:cxn ang="0">
                <a:pos x="140" y="12"/>
              </a:cxn>
              <a:cxn ang="0">
                <a:pos x="186" y="91"/>
              </a:cxn>
              <a:cxn ang="0">
                <a:pos x="171" y="112"/>
              </a:cxn>
              <a:cxn ang="0">
                <a:pos x="155" y="129"/>
              </a:cxn>
              <a:cxn ang="0">
                <a:pos x="149" y="137"/>
              </a:cxn>
              <a:cxn ang="0">
                <a:pos x="144" y="145"/>
              </a:cxn>
              <a:cxn ang="0">
                <a:pos x="142" y="150"/>
              </a:cxn>
              <a:cxn ang="0">
                <a:pos x="141" y="156"/>
              </a:cxn>
              <a:cxn ang="0">
                <a:pos x="140" y="161"/>
              </a:cxn>
              <a:cxn ang="0">
                <a:pos x="140" y="166"/>
              </a:cxn>
              <a:cxn ang="0">
                <a:pos x="86" y="147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493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4252913" y="3665538"/>
            <a:ext cx="82550" cy="57150"/>
          </a:xfrm>
          <a:custGeom>
            <a:avLst/>
            <a:gdLst/>
            <a:ahLst/>
            <a:cxnLst>
              <a:cxn ang="0">
                <a:pos x="153" y="21"/>
              </a:cxn>
              <a:cxn ang="0">
                <a:pos x="146" y="21"/>
              </a:cxn>
              <a:cxn ang="0">
                <a:pos x="141" y="20"/>
              </a:cxn>
              <a:cxn ang="0">
                <a:pos x="136" y="18"/>
              </a:cxn>
              <a:cxn ang="0">
                <a:pos x="133" y="15"/>
              </a:cxn>
              <a:cxn ang="0">
                <a:pos x="130" y="13"/>
              </a:cxn>
              <a:cxn ang="0">
                <a:pos x="125" y="11"/>
              </a:cxn>
              <a:cxn ang="0">
                <a:pos x="120" y="10"/>
              </a:cxn>
              <a:cxn ang="0">
                <a:pos x="113" y="9"/>
              </a:cxn>
              <a:cxn ang="0">
                <a:pos x="100" y="8"/>
              </a:cxn>
              <a:cxn ang="0">
                <a:pos x="88" y="6"/>
              </a:cxn>
              <a:cxn ang="0">
                <a:pos x="75" y="3"/>
              </a:cxn>
              <a:cxn ang="0">
                <a:pos x="64" y="1"/>
              </a:cxn>
              <a:cxn ang="0">
                <a:pos x="60" y="0"/>
              </a:cxn>
              <a:cxn ang="0">
                <a:pos x="54" y="0"/>
              </a:cxn>
              <a:cxn ang="0">
                <a:pos x="51" y="1"/>
              </a:cxn>
              <a:cxn ang="0">
                <a:pos x="46" y="2"/>
              </a:cxn>
              <a:cxn ang="0">
                <a:pos x="44" y="4"/>
              </a:cxn>
              <a:cxn ang="0">
                <a:pos x="42" y="6"/>
              </a:cxn>
              <a:cxn ang="0">
                <a:pos x="41" y="10"/>
              </a:cxn>
              <a:cxn ang="0">
                <a:pos x="40" y="15"/>
              </a:cxn>
              <a:cxn ang="0">
                <a:pos x="34" y="27"/>
              </a:cxn>
              <a:cxn ang="0">
                <a:pos x="20" y="47"/>
              </a:cxn>
              <a:cxn ang="0">
                <a:pos x="7" y="66"/>
              </a:cxn>
              <a:cxn ang="0">
                <a:pos x="0" y="77"/>
              </a:cxn>
              <a:cxn ang="0">
                <a:pos x="8" y="77"/>
              </a:cxn>
              <a:cxn ang="0">
                <a:pos x="16" y="78"/>
              </a:cxn>
              <a:cxn ang="0">
                <a:pos x="21" y="79"/>
              </a:cxn>
              <a:cxn ang="0">
                <a:pos x="25" y="81"/>
              </a:cxn>
              <a:cxn ang="0">
                <a:pos x="33" y="85"/>
              </a:cxn>
              <a:cxn ang="0">
                <a:pos x="40" y="89"/>
              </a:cxn>
              <a:cxn ang="0">
                <a:pos x="45" y="94"/>
              </a:cxn>
              <a:cxn ang="0">
                <a:pos x="52" y="98"/>
              </a:cxn>
              <a:cxn ang="0">
                <a:pos x="56" y="100"/>
              </a:cxn>
              <a:cxn ang="0">
                <a:pos x="61" y="101"/>
              </a:cxn>
              <a:cxn ang="0">
                <a:pos x="66" y="102"/>
              </a:cxn>
              <a:cxn ang="0">
                <a:pos x="74" y="102"/>
              </a:cxn>
              <a:cxn ang="0">
                <a:pos x="107" y="103"/>
              </a:cxn>
              <a:cxn ang="0">
                <a:pos x="131" y="104"/>
              </a:cxn>
              <a:cxn ang="0">
                <a:pos x="135" y="103"/>
              </a:cxn>
              <a:cxn ang="0">
                <a:pos x="139" y="102"/>
              </a:cxn>
              <a:cxn ang="0">
                <a:pos x="142" y="100"/>
              </a:cxn>
              <a:cxn ang="0">
                <a:pos x="145" y="97"/>
              </a:cxn>
              <a:cxn ang="0">
                <a:pos x="147" y="94"/>
              </a:cxn>
              <a:cxn ang="0">
                <a:pos x="150" y="88"/>
              </a:cxn>
              <a:cxn ang="0">
                <a:pos x="152" y="83"/>
              </a:cxn>
              <a:cxn ang="0">
                <a:pos x="153" y="77"/>
              </a:cxn>
              <a:cxn ang="0">
                <a:pos x="186" y="27"/>
              </a:cxn>
              <a:cxn ang="0">
                <a:pos x="153" y="21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494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6046788" y="2263775"/>
            <a:ext cx="133350" cy="96838"/>
          </a:xfrm>
          <a:custGeom>
            <a:avLst/>
            <a:gdLst/>
            <a:ahLst/>
            <a:cxnLst>
              <a:cxn ang="0">
                <a:pos x="79" y="38"/>
              </a:cxn>
              <a:cxn ang="0">
                <a:pos x="115" y="26"/>
              </a:cxn>
              <a:cxn ang="0">
                <a:pos x="148" y="14"/>
              </a:cxn>
              <a:cxn ang="0">
                <a:pos x="178" y="4"/>
              </a:cxn>
              <a:cxn ang="0">
                <a:pos x="211" y="0"/>
              </a:cxn>
              <a:cxn ang="0">
                <a:pos x="236" y="2"/>
              </a:cxn>
              <a:cxn ang="0">
                <a:pos x="256" y="6"/>
              </a:cxn>
              <a:cxn ang="0">
                <a:pos x="292" y="12"/>
              </a:cxn>
              <a:cxn ang="0">
                <a:pos x="287" y="28"/>
              </a:cxn>
              <a:cxn ang="0">
                <a:pos x="278" y="42"/>
              </a:cxn>
              <a:cxn ang="0">
                <a:pos x="269" y="53"/>
              </a:cxn>
              <a:cxn ang="0">
                <a:pos x="265" y="62"/>
              </a:cxn>
              <a:cxn ang="0">
                <a:pos x="266" y="66"/>
              </a:cxn>
              <a:cxn ang="0">
                <a:pos x="271" y="71"/>
              </a:cxn>
              <a:cxn ang="0">
                <a:pos x="285" y="79"/>
              </a:cxn>
              <a:cxn ang="0">
                <a:pos x="311" y="93"/>
              </a:cxn>
              <a:cxn ang="0">
                <a:pos x="287" y="107"/>
              </a:cxn>
              <a:cxn ang="0">
                <a:pos x="281" y="115"/>
              </a:cxn>
              <a:cxn ang="0">
                <a:pos x="278" y="129"/>
              </a:cxn>
              <a:cxn ang="0">
                <a:pos x="252" y="136"/>
              </a:cxn>
              <a:cxn ang="0">
                <a:pos x="211" y="148"/>
              </a:cxn>
              <a:cxn ang="0">
                <a:pos x="191" y="168"/>
              </a:cxn>
              <a:cxn ang="0">
                <a:pos x="178" y="176"/>
              </a:cxn>
              <a:cxn ang="0">
                <a:pos x="165" y="179"/>
              </a:cxn>
              <a:cxn ang="0">
                <a:pos x="151" y="175"/>
              </a:cxn>
              <a:cxn ang="0">
                <a:pos x="137" y="167"/>
              </a:cxn>
              <a:cxn ang="0">
                <a:pos x="120" y="158"/>
              </a:cxn>
              <a:cxn ang="0">
                <a:pos x="98" y="155"/>
              </a:cxn>
              <a:cxn ang="0">
                <a:pos x="66" y="155"/>
              </a:cxn>
              <a:cxn ang="0">
                <a:pos x="51" y="157"/>
              </a:cxn>
              <a:cxn ang="0">
                <a:pos x="39" y="161"/>
              </a:cxn>
              <a:cxn ang="0">
                <a:pos x="36" y="142"/>
              </a:cxn>
              <a:cxn ang="0">
                <a:pos x="32" y="123"/>
              </a:cxn>
              <a:cxn ang="0">
                <a:pos x="21" y="128"/>
              </a:cxn>
              <a:cxn ang="0">
                <a:pos x="13" y="129"/>
              </a:cxn>
              <a:cxn ang="0">
                <a:pos x="7" y="126"/>
              </a:cxn>
              <a:cxn ang="0">
                <a:pos x="3" y="121"/>
              </a:cxn>
              <a:cxn ang="0">
                <a:pos x="0" y="105"/>
              </a:cxn>
              <a:cxn ang="0">
                <a:pos x="0" y="87"/>
              </a:cxn>
              <a:cxn ang="0">
                <a:pos x="3" y="82"/>
              </a:cxn>
              <a:cxn ang="0">
                <a:pos x="13" y="78"/>
              </a:cxn>
              <a:cxn ang="0">
                <a:pos x="21" y="72"/>
              </a:cxn>
              <a:cxn ang="0">
                <a:pos x="25" y="68"/>
              </a:cxn>
              <a:cxn ang="0">
                <a:pos x="26" y="62"/>
              </a:cxn>
              <a:cxn ang="0">
                <a:pos x="24" y="51"/>
              </a:cxn>
              <a:cxn ang="0">
                <a:pos x="19" y="43"/>
              </a:cxn>
              <a:cxn ang="0">
                <a:pos x="8" y="29"/>
              </a:cxn>
              <a:cxn ang="0">
                <a:pos x="1" y="18"/>
              </a:cxn>
              <a:cxn ang="0">
                <a:pos x="1" y="13"/>
              </a:cxn>
              <a:cxn ang="0">
                <a:pos x="6" y="6"/>
              </a:cxn>
              <a:cxn ang="0">
                <a:pos x="0" y="6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495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5402263" y="3190875"/>
            <a:ext cx="177800" cy="165100"/>
          </a:xfrm>
          <a:custGeom>
            <a:avLst/>
            <a:gdLst/>
            <a:ahLst/>
            <a:cxnLst>
              <a:cxn ang="0">
                <a:pos x="6" y="260"/>
              </a:cxn>
              <a:cxn ang="0">
                <a:pos x="13" y="237"/>
              </a:cxn>
              <a:cxn ang="0">
                <a:pos x="17" y="202"/>
              </a:cxn>
              <a:cxn ang="0">
                <a:pos x="23" y="173"/>
              </a:cxn>
              <a:cxn ang="0">
                <a:pos x="32" y="162"/>
              </a:cxn>
              <a:cxn ang="0">
                <a:pos x="48" y="150"/>
              </a:cxn>
              <a:cxn ang="0">
                <a:pos x="72" y="141"/>
              </a:cxn>
              <a:cxn ang="0">
                <a:pos x="93" y="134"/>
              </a:cxn>
              <a:cxn ang="0">
                <a:pos x="104" y="125"/>
              </a:cxn>
              <a:cxn ang="0">
                <a:pos x="113" y="114"/>
              </a:cxn>
              <a:cxn ang="0">
                <a:pos x="123" y="93"/>
              </a:cxn>
              <a:cxn ang="0">
                <a:pos x="136" y="69"/>
              </a:cxn>
              <a:cxn ang="0">
                <a:pos x="147" y="55"/>
              </a:cxn>
              <a:cxn ang="0">
                <a:pos x="155" y="51"/>
              </a:cxn>
              <a:cxn ang="0">
                <a:pos x="170" y="51"/>
              </a:cxn>
              <a:cxn ang="0">
                <a:pos x="189" y="48"/>
              </a:cxn>
              <a:cxn ang="0">
                <a:pos x="213" y="35"/>
              </a:cxn>
              <a:cxn ang="0">
                <a:pos x="237" y="20"/>
              </a:cxn>
              <a:cxn ang="0">
                <a:pos x="257" y="11"/>
              </a:cxn>
              <a:cxn ang="0">
                <a:pos x="282" y="4"/>
              </a:cxn>
              <a:cxn ang="0">
                <a:pos x="314" y="0"/>
              </a:cxn>
              <a:cxn ang="0">
                <a:pos x="332" y="14"/>
              </a:cxn>
              <a:cxn ang="0">
                <a:pos x="337" y="34"/>
              </a:cxn>
              <a:cxn ang="0">
                <a:pos x="343" y="50"/>
              </a:cxn>
              <a:cxn ang="0">
                <a:pos x="352" y="62"/>
              </a:cxn>
              <a:cxn ang="0">
                <a:pos x="368" y="74"/>
              </a:cxn>
              <a:cxn ang="0">
                <a:pos x="382" y="85"/>
              </a:cxn>
              <a:cxn ang="0">
                <a:pos x="390" y="93"/>
              </a:cxn>
              <a:cxn ang="0">
                <a:pos x="396" y="115"/>
              </a:cxn>
              <a:cxn ang="0">
                <a:pos x="398" y="143"/>
              </a:cxn>
              <a:cxn ang="0">
                <a:pos x="398" y="170"/>
              </a:cxn>
              <a:cxn ang="0">
                <a:pos x="402" y="196"/>
              </a:cxn>
              <a:cxn ang="0">
                <a:pos x="398" y="217"/>
              </a:cxn>
              <a:cxn ang="0">
                <a:pos x="382" y="226"/>
              </a:cxn>
              <a:cxn ang="0">
                <a:pos x="365" y="241"/>
              </a:cxn>
              <a:cxn ang="0">
                <a:pos x="363" y="237"/>
              </a:cxn>
              <a:cxn ang="0">
                <a:pos x="358" y="233"/>
              </a:cxn>
              <a:cxn ang="0">
                <a:pos x="342" y="227"/>
              </a:cxn>
              <a:cxn ang="0">
                <a:pos x="319" y="223"/>
              </a:cxn>
              <a:cxn ang="0">
                <a:pos x="152" y="241"/>
              </a:cxn>
              <a:cxn ang="0">
                <a:pos x="150" y="257"/>
              </a:cxn>
              <a:cxn ang="0">
                <a:pos x="150" y="274"/>
              </a:cxn>
              <a:cxn ang="0">
                <a:pos x="152" y="314"/>
              </a:cxn>
              <a:cxn ang="0">
                <a:pos x="139" y="312"/>
              </a:cxn>
              <a:cxn ang="0">
                <a:pos x="126" y="305"/>
              </a:cxn>
              <a:cxn ang="0">
                <a:pos x="100" y="290"/>
              </a:cxn>
              <a:cxn ang="0">
                <a:pos x="89" y="307"/>
              </a:cxn>
              <a:cxn ang="0">
                <a:pos x="82" y="312"/>
              </a:cxn>
              <a:cxn ang="0">
                <a:pos x="73" y="314"/>
              </a:cxn>
              <a:cxn ang="0">
                <a:pos x="60" y="311"/>
              </a:cxn>
              <a:cxn ang="0">
                <a:pos x="47" y="302"/>
              </a:cxn>
              <a:cxn ang="0">
                <a:pos x="28" y="291"/>
              </a:cxn>
              <a:cxn ang="0">
                <a:pos x="0" y="284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496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5749926" y="3259138"/>
            <a:ext cx="193675" cy="349250"/>
          </a:xfrm>
          <a:custGeom>
            <a:avLst/>
            <a:gdLst/>
            <a:ahLst/>
            <a:cxnLst>
              <a:cxn ang="0">
                <a:pos x="335" y="36"/>
              </a:cxn>
              <a:cxn ang="0">
                <a:pos x="321" y="98"/>
              </a:cxn>
              <a:cxn ang="0">
                <a:pos x="277" y="162"/>
              </a:cxn>
              <a:cxn ang="0">
                <a:pos x="253" y="219"/>
              </a:cxn>
              <a:cxn ang="0">
                <a:pos x="232" y="272"/>
              </a:cxn>
              <a:cxn ang="0">
                <a:pos x="209" y="329"/>
              </a:cxn>
              <a:cxn ang="0">
                <a:pos x="196" y="362"/>
              </a:cxn>
              <a:cxn ang="0">
                <a:pos x="180" y="380"/>
              </a:cxn>
              <a:cxn ang="0">
                <a:pos x="167" y="390"/>
              </a:cxn>
              <a:cxn ang="0">
                <a:pos x="141" y="382"/>
              </a:cxn>
              <a:cxn ang="0">
                <a:pos x="121" y="370"/>
              </a:cxn>
              <a:cxn ang="0">
                <a:pos x="94" y="367"/>
              </a:cxn>
              <a:cxn ang="0">
                <a:pos x="64" y="380"/>
              </a:cxn>
              <a:cxn ang="0">
                <a:pos x="44" y="403"/>
              </a:cxn>
              <a:cxn ang="0">
                <a:pos x="21" y="454"/>
              </a:cxn>
              <a:cxn ang="0">
                <a:pos x="7" y="482"/>
              </a:cxn>
              <a:cxn ang="0">
                <a:pos x="1" y="500"/>
              </a:cxn>
              <a:cxn ang="0">
                <a:pos x="8" y="517"/>
              </a:cxn>
              <a:cxn ang="0">
                <a:pos x="20" y="526"/>
              </a:cxn>
              <a:cxn ang="0">
                <a:pos x="55" y="526"/>
              </a:cxn>
              <a:cxn ang="0">
                <a:pos x="71" y="548"/>
              </a:cxn>
              <a:cxn ang="0">
                <a:pos x="73" y="590"/>
              </a:cxn>
              <a:cxn ang="0">
                <a:pos x="67" y="630"/>
              </a:cxn>
              <a:cxn ang="0">
                <a:pos x="433" y="661"/>
              </a:cxn>
              <a:cxn ang="0">
                <a:pos x="442" y="582"/>
              </a:cxn>
              <a:cxn ang="0">
                <a:pos x="415" y="568"/>
              </a:cxn>
              <a:cxn ang="0">
                <a:pos x="373" y="557"/>
              </a:cxn>
              <a:cxn ang="0">
                <a:pos x="353" y="549"/>
              </a:cxn>
              <a:cxn ang="0">
                <a:pos x="340" y="537"/>
              </a:cxn>
              <a:cxn ang="0">
                <a:pos x="333" y="515"/>
              </a:cxn>
              <a:cxn ang="0">
                <a:pos x="333" y="464"/>
              </a:cxn>
              <a:cxn ang="0">
                <a:pos x="337" y="428"/>
              </a:cxn>
              <a:cxn ang="0">
                <a:pos x="351" y="397"/>
              </a:cxn>
              <a:cxn ang="0">
                <a:pos x="373" y="364"/>
              </a:cxn>
              <a:cxn ang="0">
                <a:pos x="392" y="330"/>
              </a:cxn>
              <a:cxn ang="0">
                <a:pos x="399" y="297"/>
              </a:cxn>
              <a:cxn ang="0">
                <a:pos x="389" y="267"/>
              </a:cxn>
              <a:cxn ang="0">
                <a:pos x="373" y="246"/>
              </a:cxn>
              <a:cxn ang="0">
                <a:pos x="343" y="217"/>
              </a:cxn>
              <a:cxn ang="0">
                <a:pos x="333" y="192"/>
              </a:cxn>
              <a:cxn ang="0">
                <a:pos x="335" y="173"/>
              </a:cxn>
              <a:cxn ang="0">
                <a:pos x="353" y="164"/>
              </a:cxn>
              <a:cxn ang="0">
                <a:pos x="406" y="162"/>
              </a:cxn>
              <a:cxn ang="0">
                <a:pos x="395" y="151"/>
              </a:cxn>
              <a:cxn ang="0">
                <a:pos x="379" y="117"/>
              </a:cxn>
              <a:cxn ang="0">
                <a:pos x="371" y="73"/>
              </a:cxn>
              <a:cxn ang="0">
                <a:pos x="373" y="45"/>
              </a:cxn>
              <a:cxn ang="0">
                <a:pos x="367" y="11"/>
              </a:cxn>
              <a:cxn ang="0">
                <a:pos x="347" y="0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497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8201026" y="3017838"/>
            <a:ext cx="55563" cy="57150"/>
          </a:xfrm>
          <a:custGeom>
            <a:avLst/>
            <a:gdLst/>
            <a:ahLst/>
            <a:cxnLst>
              <a:cxn ang="0">
                <a:pos x="0" y="56"/>
              </a:cxn>
              <a:cxn ang="0">
                <a:pos x="4" y="49"/>
              </a:cxn>
              <a:cxn ang="0">
                <a:pos x="10" y="41"/>
              </a:cxn>
              <a:cxn ang="0">
                <a:pos x="16" y="33"/>
              </a:cxn>
              <a:cxn ang="0">
                <a:pos x="24" y="25"/>
              </a:cxn>
              <a:cxn ang="0">
                <a:pos x="37" y="11"/>
              </a:cxn>
              <a:cxn ang="0">
                <a:pos x="47" y="0"/>
              </a:cxn>
              <a:cxn ang="0">
                <a:pos x="113" y="0"/>
              </a:cxn>
              <a:cxn ang="0">
                <a:pos x="114" y="4"/>
              </a:cxn>
              <a:cxn ang="0">
                <a:pos x="115" y="8"/>
              </a:cxn>
              <a:cxn ang="0">
                <a:pos x="117" y="12"/>
              </a:cxn>
              <a:cxn ang="0">
                <a:pos x="119" y="14"/>
              </a:cxn>
              <a:cxn ang="0">
                <a:pos x="124" y="20"/>
              </a:cxn>
              <a:cxn ang="0">
                <a:pos x="126" y="24"/>
              </a:cxn>
              <a:cxn ang="0">
                <a:pos x="126" y="32"/>
              </a:cxn>
              <a:cxn ang="0">
                <a:pos x="125" y="41"/>
              </a:cxn>
              <a:cxn ang="0">
                <a:pos x="124" y="48"/>
              </a:cxn>
              <a:cxn ang="0">
                <a:pos x="122" y="55"/>
              </a:cxn>
              <a:cxn ang="0">
                <a:pos x="119" y="62"/>
              </a:cxn>
              <a:cxn ang="0">
                <a:pos x="116" y="69"/>
              </a:cxn>
              <a:cxn ang="0">
                <a:pos x="112" y="75"/>
              </a:cxn>
              <a:cxn ang="0">
                <a:pos x="108" y="81"/>
              </a:cxn>
              <a:cxn ang="0">
                <a:pos x="104" y="86"/>
              </a:cxn>
              <a:cxn ang="0">
                <a:pos x="99" y="90"/>
              </a:cxn>
              <a:cxn ang="0">
                <a:pos x="93" y="94"/>
              </a:cxn>
              <a:cxn ang="0">
                <a:pos x="88" y="99"/>
              </a:cxn>
              <a:cxn ang="0">
                <a:pos x="81" y="101"/>
              </a:cxn>
              <a:cxn ang="0">
                <a:pos x="74" y="103"/>
              </a:cxn>
              <a:cxn ang="0">
                <a:pos x="67" y="105"/>
              </a:cxn>
              <a:cxn ang="0">
                <a:pos x="60" y="105"/>
              </a:cxn>
              <a:cxn ang="0">
                <a:pos x="48" y="104"/>
              </a:cxn>
              <a:cxn ang="0">
                <a:pos x="38" y="102"/>
              </a:cxn>
              <a:cxn ang="0">
                <a:pos x="31" y="98"/>
              </a:cxn>
              <a:cxn ang="0">
                <a:pos x="24" y="92"/>
              </a:cxn>
              <a:cxn ang="0">
                <a:pos x="20" y="86"/>
              </a:cxn>
              <a:cxn ang="0">
                <a:pos x="16" y="78"/>
              </a:cxn>
              <a:cxn ang="0">
                <a:pos x="14" y="70"/>
              </a:cxn>
              <a:cxn ang="0">
                <a:pos x="13" y="62"/>
              </a:cxn>
              <a:cxn ang="0">
                <a:pos x="0" y="56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498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3556000" y="3281364"/>
            <a:ext cx="298450" cy="523875"/>
          </a:xfrm>
          <a:custGeom>
            <a:avLst/>
            <a:gdLst/>
            <a:ahLst/>
            <a:cxnLst>
              <a:cxn ang="0">
                <a:pos x="671" y="573"/>
              </a:cxn>
              <a:cxn ang="0">
                <a:pos x="680" y="550"/>
              </a:cxn>
              <a:cxn ang="0">
                <a:pos x="671" y="491"/>
              </a:cxn>
              <a:cxn ang="0">
                <a:pos x="659" y="423"/>
              </a:cxn>
              <a:cxn ang="0">
                <a:pos x="678" y="389"/>
              </a:cxn>
              <a:cxn ang="0">
                <a:pos x="557" y="361"/>
              </a:cxn>
              <a:cxn ang="0">
                <a:pos x="533" y="326"/>
              </a:cxn>
              <a:cxn ang="0">
                <a:pos x="462" y="310"/>
              </a:cxn>
              <a:cxn ang="0">
                <a:pos x="402" y="270"/>
              </a:cxn>
              <a:cxn ang="0">
                <a:pos x="375" y="201"/>
              </a:cxn>
              <a:cxn ang="0">
                <a:pos x="375" y="133"/>
              </a:cxn>
              <a:cxn ang="0">
                <a:pos x="395" y="84"/>
              </a:cxn>
              <a:cxn ang="0">
                <a:pos x="435" y="48"/>
              </a:cxn>
              <a:cxn ang="0">
                <a:pos x="463" y="11"/>
              </a:cxn>
              <a:cxn ang="0">
                <a:pos x="389" y="39"/>
              </a:cxn>
              <a:cxn ang="0">
                <a:pos x="335" y="68"/>
              </a:cxn>
              <a:cxn ang="0">
                <a:pos x="304" y="78"/>
              </a:cxn>
              <a:cxn ang="0">
                <a:pos x="278" y="84"/>
              </a:cxn>
              <a:cxn ang="0">
                <a:pos x="241" y="81"/>
              </a:cxn>
              <a:cxn ang="0">
                <a:pos x="217" y="108"/>
              </a:cxn>
              <a:cxn ang="0">
                <a:pos x="196" y="175"/>
              </a:cxn>
              <a:cxn ang="0">
                <a:pos x="157" y="227"/>
              </a:cxn>
              <a:cxn ang="0">
                <a:pos x="107" y="284"/>
              </a:cxn>
              <a:cxn ang="0">
                <a:pos x="90" y="317"/>
              </a:cxn>
              <a:cxn ang="0">
                <a:pos x="86" y="356"/>
              </a:cxn>
              <a:cxn ang="0">
                <a:pos x="97" y="382"/>
              </a:cxn>
              <a:cxn ang="0">
                <a:pos x="97" y="451"/>
              </a:cxn>
              <a:cxn ang="0">
                <a:pos x="95" y="525"/>
              </a:cxn>
              <a:cxn ang="0">
                <a:pos x="72" y="563"/>
              </a:cxn>
              <a:cxn ang="0">
                <a:pos x="37" y="592"/>
              </a:cxn>
              <a:cxn ang="0">
                <a:pos x="11" y="612"/>
              </a:cxn>
              <a:cxn ang="0">
                <a:pos x="30" y="668"/>
              </a:cxn>
              <a:cxn ang="0">
                <a:pos x="123" y="725"/>
              </a:cxn>
              <a:cxn ang="0">
                <a:pos x="175" y="728"/>
              </a:cxn>
              <a:cxn ang="0">
                <a:pos x="234" y="746"/>
              </a:cxn>
              <a:cxn ang="0">
                <a:pos x="299" y="795"/>
              </a:cxn>
              <a:cxn ang="0">
                <a:pos x="337" y="850"/>
              </a:cxn>
              <a:cxn ang="0">
                <a:pos x="367" y="881"/>
              </a:cxn>
              <a:cxn ang="0">
                <a:pos x="412" y="886"/>
              </a:cxn>
              <a:cxn ang="0">
                <a:pos x="462" y="876"/>
              </a:cxn>
              <a:cxn ang="0">
                <a:pos x="492" y="878"/>
              </a:cxn>
              <a:cxn ang="0">
                <a:pos x="515" y="904"/>
              </a:cxn>
              <a:cxn ang="0">
                <a:pos x="513" y="922"/>
              </a:cxn>
              <a:cxn ang="0">
                <a:pos x="488" y="937"/>
              </a:cxn>
              <a:cxn ang="0">
                <a:pos x="488" y="963"/>
              </a:cxn>
              <a:cxn ang="0">
                <a:pos x="511" y="994"/>
              </a:cxn>
              <a:cxn ang="0">
                <a:pos x="542" y="962"/>
              </a:cxn>
              <a:cxn ang="0">
                <a:pos x="566" y="861"/>
              </a:cxn>
              <a:cxn ang="0">
                <a:pos x="571" y="803"/>
              </a:cxn>
              <a:cxn ang="0">
                <a:pos x="555" y="771"/>
              </a:cxn>
              <a:cxn ang="0">
                <a:pos x="523" y="749"/>
              </a:cxn>
              <a:cxn ang="0">
                <a:pos x="521" y="723"/>
              </a:cxn>
              <a:cxn ang="0">
                <a:pos x="566" y="700"/>
              </a:cxn>
              <a:cxn ang="0">
                <a:pos x="556" y="665"/>
              </a:cxn>
              <a:cxn ang="0">
                <a:pos x="556" y="649"/>
              </a:cxn>
              <a:cxn ang="0">
                <a:pos x="655" y="628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499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5808664" y="3549650"/>
            <a:ext cx="187325" cy="274638"/>
          </a:xfrm>
          <a:custGeom>
            <a:avLst/>
            <a:gdLst/>
            <a:ahLst/>
            <a:cxnLst>
              <a:cxn ang="0">
                <a:pos x="429" y="22"/>
              </a:cxn>
              <a:cxn ang="0">
                <a:pos x="428" y="43"/>
              </a:cxn>
              <a:cxn ang="0">
                <a:pos x="424" y="54"/>
              </a:cxn>
              <a:cxn ang="0">
                <a:pos x="415" y="67"/>
              </a:cxn>
              <a:cxn ang="0">
                <a:pos x="413" y="81"/>
              </a:cxn>
              <a:cxn ang="0">
                <a:pos x="414" y="160"/>
              </a:cxn>
              <a:cxn ang="0">
                <a:pos x="408" y="207"/>
              </a:cxn>
              <a:cxn ang="0">
                <a:pos x="396" y="241"/>
              </a:cxn>
              <a:cxn ang="0">
                <a:pos x="372" y="278"/>
              </a:cxn>
              <a:cxn ang="0">
                <a:pos x="338" y="309"/>
              </a:cxn>
              <a:cxn ang="0">
                <a:pos x="319" y="333"/>
              </a:cxn>
              <a:cxn ang="0">
                <a:pos x="312" y="412"/>
              </a:cxn>
              <a:cxn ang="0">
                <a:pos x="304" y="439"/>
              </a:cxn>
              <a:cxn ang="0">
                <a:pos x="290" y="448"/>
              </a:cxn>
              <a:cxn ang="0">
                <a:pos x="269" y="455"/>
              </a:cxn>
              <a:cxn ang="0">
                <a:pos x="253" y="472"/>
              </a:cxn>
              <a:cxn ang="0">
                <a:pos x="234" y="500"/>
              </a:cxn>
              <a:cxn ang="0">
                <a:pos x="223" y="505"/>
              </a:cxn>
              <a:cxn ang="0">
                <a:pos x="201" y="504"/>
              </a:cxn>
              <a:cxn ang="0">
                <a:pos x="189" y="498"/>
              </a:cxn>
              <a:cxn ang="0">
                <a:pos x="145" y="500"/>
              </a:cxn>
              <a:cxn ang="0">
                <a:pos x="123" y="500"/>
              </a:cxn>
              <a:cxn ang="0">
                <a:pos x="113" y="494"/>
              </a:cxn>
              <a:cxn ang="0">
                <a:pos x="95" y="493"/>
              </a:cxn>
              <a:cxn ang="0">
                <a:pos x="78" y="502"/>
              </a:cxn>
              <a:cxn ang="0">
                <a:pos x="62" y="519"/>
              </a:cxn>
              <a:cxn ang="0">
                <a:pos x="27" y="491"/>
              </a:cxn>
              <a:cxn ang="0">
                <a:pos x="6" y="447"/>
              </a:cxn>
              <a:cxn ang="0">
                <a:pos x="25" y="430"/>
              </a:cxn>
              <a:cxn ang="0">
                <a:pos x="42" y="424"/>
              </a:cxn>
              <a:cxn ang="0">
                <a:pos x="61" y="428"/>
              </a:cxn>
              <a:cxn ang="0">
                <a:pos x="58" y="418"/>
              </a:cxn>
              <a:cxn ang="0">
                <a:pos x="45" y="386"/>
              </a:cxn>
              <a:cxn ang="0">
                <a:pos x="47" y="366"/>
              </a:cxn>
              <a:cxn ang="0">
                <a:pos x="57" y="356"/>
              </a:cxn>
              <a:cxn ang="0">
                <a:pos x="71" y="352"/>
              </a:cxn>
              <a:cxn ang="0">
                <a:pos x="89" y="337"/>
              </a:cxn>
              <a:cxn ang="0">
                <a:pos x="104" y="333"/>
              </a:cxn>
              <a:cxn ang="0">
                <a:pos x="115" y="342"/>
              </a:cxn>
              <a:cxn ang="0">
                <a:pos x="135" y="359"/>
              </a:cxn>
              <a:cxn ang="0">
                <a:pos x="154" y="351"/>
              </a:cxn>
              <a:cxn ang="0">
                <a:pos x="181" y="353"/>
              </a:cxn>
              <a:cxn ang="0">
                <a:pos x="199" y="340"/>
              </a:cxn>
              <a:cxn ang="0">
                <a:pos x="210" y="315"/>
              </a:cxn>
              <a:cxn ang="0">
                <a:pos x="213" y="290"/>
              </a:cxn>
              <a:cxn ang="0">
                <a:pos x="215" y="269"/>
              </a:cxn>
              <a:cxn ang="0">
                <a:pos x="201" y="236"/>
              </a:cxn>
              <a:cxn ang="0">
                <a:pos x="188" y="203"/>
              </a:cxn>
              <a:cxn ang="0">
                <a:pos x="207" y="177"/>
              </a:cxn>
              <a:cxn ang="0">
                <a:pos x="210" y="164"/>
              </a:cxn>
              <a:cxn ang="0">
                <a:pos x="200" y="155"/>
              </a:cxn>
              <a:cxn ang="0">
                <a:pos x="197" y="137"/>
              </a:cxn>
              <a:cxn ang="0">
                <a:pos x="188" y="129"/>
              </a:cxn>
              <a:cxn ang="0">
                <a:pos x="161" y="132"/>
              </a:cxn>
              <a:cxn ang="0">
                <a:pos x="137" y="131"/>
              </a:cxn>
              <a:cxn ang="0">
                <a:pos x="125" y="119"/>
              </a:cxn>
              <a:cxn ang="0">
                <a:pos x="123" y="103"/>
              </a:cxn>
              <a:cxn ang="0">
                <a:pos x="132" y="76"/>
              </a:cxn>
              <a:cxn ang="0">
                <a:pos x="306" y="38"/>
              </a:cxn>
              <a:cxn ang="0">
                <a:pos x="323" y="17"/>
              </a:cxn>
              <a:cxn ang="0">
                <a:pos x="343" y="7"/>
              </a:cxn>
              <a:cxn ang="0">
                <a:pos x="374" y="5"/>
              </a:cxn>
              <a:cxn ang="0">
                <a:pos x="408" y="4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00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5840413" y="2192338"/>
            <a:ext cx="127000" cy="114300"/>
          </a:xfrm>
          <a:custGeom>
            <a:avLst/>
            <a:gdLst/>
            <a:ahLst/>
            <a:cxnLst>
              <a:cxn ang="0">
                <a:pos x="259" y="93"/>
              </a:cxn>
              <a:cxn ang="0">
                <a:pos x="166" y="77"/>
              </a:cxn>
              <a:cxn ang="0">
                <a:pos x="152" y="79"/>
              </a:cxn>
              <a:cxn ang="0">
                <a:pos x="139" y="79"/>
              </a:cxn>
              <a:cxn ang="0">
                <a:pos x="126" y="77"/>
              </a:cxn>
              <a:cxn ang="0">
                <a:pos x="119" y="93"/>
              </a:cxn>
              <a:cxn ang="0">
                <a:pos x="144" y="131"/>
              </a:cxn>
              <a:cxn ang="0">
                <a:pos x="168" y="157"/>
              </a:cxn>
              <a:cxn ang="0">
                <a:pos x="189" y="185"/>
              </a:cxn>
              <a:cxn ang="0">
                <a:pos x="197" y="202"/>
              </a:cxn>
              <a:cxn ang="0">
                <a:pos x="205" y="222"/>
              </a:cxn>
              <a:cxn ang="0">
                <a:pos x="175" y="223"/>
              </a:cxn>
              <a:cxn ang="0">
                <a:pos x="161" y="222"/>
              </a:cxn>
              <a:cxn ang="0">
                <a:pos x="146" y="216"/>
              </a:cxn>
              <a:cxn ang="0">
                <a:pos x="134" y="209"/>
              </a:cxn>
              <a:cxn ang="0">
                <a:pos x="127" y="198"/>
              </a:cxn>
              <a:cxn ang="0">
                <a:pos x="121" y="187"/>
              </a:cxn>
              <a:cxn ang="0">
                <a:pos x="113" y="180"/>
              </a:cxn>
              <a:cxn ang="0">
                <a:pos x="91" y="145"/>
              </a:cxn>
              <a:cxn ang="0">
                <a:pos x="68" y="113"/>
              </a:cxn>
              <a:cxn ang="0">
                <a:pos x="55" y="99"/>
              </a:cxn>
              <a:cxn ang="0">
                <a:pos x="42" y="87"/>
              </a:cxn>
              <a:cxn ang="0">
                <a:pos x="27" y="79"/>
              </a:cxn>
              <a:cxn ang="0">
                <a:pos x="13" y="75"/>
              </a:cxn>
              <a:cxn ang="0">
                <a:pos x="4" y="65"/>
              </a:cxn>
              <a:cxn ang="0">
                <a:pos x="1" y="58"/>
              </a:cxn>
              <a:cxn ang="0">
                <a:pos x="0" y="49"/>
              </a:cxn>
              <a:cxn ang="0">
                <a:pos x="40" y="55"/>
              </a:cxn>
              <a:cxn ang="0">
                <a:pos x="70" y="55"/>
              </a:cxn>
              <a:cxn ang="0">
                <a:pos x="91" y="50"/>
              </a:cxn>
              <a:cxn ang="0">
                <a:pos x="106" y="41"/>
              </a:cxn>
              <a:cxn ang="0">
                <a:pos x="127" y="20"/>
              </a:cxn>
              <a:cxn ang="0">
                <a:pos x="138" y="9"/>
              </a:cxn>
              <a:cxn ang="0">
                <a:pos x="152" y="0"/>
              </a:cxn>
              <a:cxn ang="0">
                <a:pos x="172" y="14"/>
              </a:cxn>
              <a:cxn ang="0">
                <a:pos x="194" y="26"/>
              </a:cxn>
              <a:cxn ang="0">
                <a:pos x="218" y="34"/>
              </a:cxn>
              <a:cxn ang="0">
                <a:pos x="246" y="37"/>
              </a:cxn>
              <a:cxn ang="0">
                <a:pos x="262" y="34"/>
              </a:cxn>
              <a:cxn ang="0">
                <a:pos x="279" y="31"/>
              </a:cxn>
              <a:cxn ang="0">
                <a:pos x="285" y="47"/>
              </a:cxn>
              <a:cxn ang="0">
                <a:pos x="287" y="49"/>
              </a:cxn>
              <a:cxn ang="0">
                <a:pos x="292" y="69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01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5791201" y="2051050"/>
            <a:ext cx="168275" cy="77788"/>
          </a:xfrm>
          <a:custGeom>
            <a:avLst/>
            <a:gdLst/>
            <a:ahLst/>
            <a:cxnLst>
              <a:cxn ang="0">
                <a:pos x="375" y="94"/>
              </a:cxn>
              <a:cxn ang="0">
                <a:pos x="360" y="101"/>
              </a:cxn>
              <a:cxn ang="0">
                <a:pos x="354" y="108"/>
              </a:cxn>
              <a:cxn ang="0">
                <a:pos x="347" y="117"/>
              </a:cxn>
              <a:cxn ang="0">
                <a:pos x="333" y="127"/>
              </a:cxn>
              <a:cxn ang="0">
                <a:pos x="320" y="131"/>
              </a:cxn>
              <a:cxn ang="0">
                <a:pos x="311" y="132"/>
              </a:cxn>
              <a:cxn ang="0">
                <a:pos x="301" y="130"/>
              </a:cxn>
              <a:cxn ang="0">
                <a:pos x="291" y="126"/>
              </a:cxn>
              <a:cxn ang="0">
                <a:pos x="281" y="119"/>
              </a:cxn>
              <a:cxn ang="0">
                <a:pos x="275" y="116"/>
              </a:cxn>
              <a:cxn ang="0">
                <a:pos x="269" y="118"/>
              </a:cxn>
              <a:cxn ang="0">
                <a:pos x="267" y="123"/>
              </a:cxn>
              <a:cxn ang="0">
                <a:pos x="266" y="140"/>
              </a:cxn>
              <a:cxn ang="0">
                <a:pos x="257" y="145"/>
              </a:cxn>
              <a:cxn ang="0">
                <a:pos x="244" y="140"/>
              </a:cxn>
              <a:cxn ang="0">
                <a:pos x="229" y="131"/>
              </a:cxn>
              <a:cxn ang="0">
                <a:pos x="113" y="141"/>
              </a:cxn>
              <a:cxn ang="0">
                <a:pos x="80" y="124"/>
              </a:cxn>
              <a:cxn ang="0">
                <a:pos x="58" y="109"/>
              </a:cxn>
              <a:cxn ang="0">
                <a:pos x="45" y="94"/>
              </a:cxn>
              <a:cxn ang="0">
                <a:pos x="37" y="82"/>
              </a:cxn>
              <a:cxn ang="0">
                <a:pos x="26" y="59"/>
              </a:cxn>
              <a:cxn ang="0">
                <a:pos x="16" y="48"/>
              </a:cxn>
              <a:cxn ang="0">
                <a:pos x="0" y="36"/>
              </a:cxn>
              <a:cxn ang="0">
                <a:pos x="29" y="40"/>
              </a:cxn>
              <a:cxn ang="0">
                <a:pos x="52" y="38"/>
              </a:cxn>
              <a:cxn ang="0">
                <a:pos x="72" y="33"/>
              </a:cxn>
              <a:cxn ang="0">
                <a:pos x="87" y="25"/>
              </a:cxn>
              <a:cxn ang="0">
                <a:pos x="119" y="8"/>
              </a:cxn>
              <a:cxn ang="0">
                <a:pos x="138" y="2"/>
              </a:cxn>
              <a:cxn ang="0">
                <a:pos x="159" y="0"/>
              </a:cxn>
              <a:cxn ang="0">
                <a:pos x="200" y="23"/>
              </a:cxn>
              <a:cxn ang="0">
                <a:pos x="244" y="45"/>
              </a:cxn>
              <a:cxn ang="0">
                <a:pos x="292" y="67"/>
              </a:cxn>
              <a:cxn ang="0">
                <a:pos x="333" y="80"/>
              </a:cxn>
              <a:cxn ang="0">
                <a:pos x="354" y="86"/>
              </a:cxn>
              <a:cxn ang="0">
                <a:pos x="379" y="92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02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5754688" y="1906589"/>
            <a:ext cx="30162" cy="603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9"/>
              </a:cxn>
              <a:cxn ang="0">
                <a:pos x="0" y="18"/>
              </a:cxn>
              <a:cxn ang="0">
                <a:pos x="1" y="24"/>
              </a:cxn>
              <a:cxn ang="0">
                <a:pos x="2" y="30"/>
              </a:cxn>
              <a:cxn ang="0">
                <a:pos x="3" y="36"/>
              </a:cxn>
              <a:cxn ang="0">
                <a:pos x="6" y="42"/>
              </a:cxn>
              <a:cxn ang="0">
                <a:pos x="12" y="55"/>
              </a:cxn>
              <a:cxn ang="0">
                <a:pos x="21" y="67"/>
              </a:cxn>
              <a:cxn ang="0">
                <a:pos x="28" y="65"/>
              </a:cxn>
              <a:cxn ang="0">
                <a:pos x="35" y="61"/>
              </a:cxn>
              <a:cxn ang="0">
                <a:pos x="42" y="58"/>
              </a:cxn>
              <a:cxn ang="0">
                <a:pos x="48" y="53"/>
              </a:cxn>
              <a:cxn ang="0">
                <a:pos x="53" y="47"/>
              </a:cxn>
              <a:cxn ang="0">
                <a:pos x="57" y="40"/>
              </a:cxn>
              <a:cxn ang="0">
                <a:pos x="59" y="32"/>
              </a:cxn>
              <a:cxn ang="0">
                <a:pos x="61" y="24"/>
              </a:cxn>
              <a:cxn ang="0">
                <a:pos x="53" y="14"/>
              </a:cxn>
              <a:cxn ang="0">
                <a:pos x="41" y="0"/>
              </a:cxn>
              <a:cxn ang="0">
                <a:pos x="28" y="3"/>
              </a:cxn>
              <a:cxn ang="0">
                <a:pos x="18" y="4"/>
              </a:cxn>
              <a:cxn ang="0">
                <a:pos x="13" y="4"/>
              </a:cxn>
              <a:cxn ang="0">
                <a:pos x="10" y="3"/>
              </a:cxn>
              <a:cxn ang="0">
                <a:pos x="6" y="2"/>
              </a:cxn>
              <a:cxn ang="0">
                <a:pos x="0" y="0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03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5726113" y="1911350"/>
            <a:ext cx="25400" cy="58738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0" y="24"/>
              </a:cxn>
              <a:cxn ang="0">
                <a:pos x="5" y="32"/>
              </a:cxn>
              <a:cxn ang="0">
                <a:pos x="10" y="40"/>
              </a:cxn>
              <a:cxn ang="0">
                <a:pos x="16" y="45"/>
              </a:cxn>
              <a:cxn ang="0">
                <a:pos x="21" y="49"/>
              </a:cxn>
              <a:cxn ang="0">
                <a:pos x="27" y="52"/>
              </a:cxn>
              <a:cxn ang="0">
                <a:pos x="33" y="54"/>
              </a:cxn>
              <a:cxn ang="0">
                <a:pos x="40" y="55"/>
              </a:cxn>
              <a:cxn ang="0">
                <a:pos x="46" y="55"/>
              </a:cxn>
              <a:cxn ang="0">
                <a:pos x="53" y="52"/>
              </a:cxn>
              <a:cxn ang="0">
                <a:pos x="60" y="49"/>
              </a:cxn>
              <a:cxn ang="0">
                <a:pos x="50" y="34"/>
              </a:cxn>
              <a:cxn ang="0">
                <a:pos x="42" y="22"/>
              </a:cxn>
              <a:cxn ang="0">
                <a:pos x="39" y="17"/>
              </a:cxn>
              <a:cxn ang="0">
                <a:pos x="35" y="12"/>
              </a:cxn>
              <a:cxn ang="0">
                <a:pos x="34" y="6"/>
              </a:cxn>
              <a:cxn ang="0">
                <a:pos x="33" y="0"/>
              </a:cxn>
              <a:cxn ang="0">
                <a:pos x="23" y="1"/>
              </a:cxn>
              <a:cxn ang="0">
                <a:pos x="15" y="3"/>
              </a:cxn>
              <a:cxn ang="0">
                <a:pos x="7" y="5"/>
              </a:cxn>
              <a:cxn ang="0">
                <a:pos x="0" y="6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04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5695950" y="1857375"/>
            <a:ext cx="52388" cy="77788"/>
          </a:xfrm>
          <a:custGeom>
            <a:avLst/>
            <a:gdLst/>
            <a:ahLst/>
            <a:cxnLst>
              <a:cxn ang="0">
                <a:pos x="74" y="129"/>
              </a:cxn>
              <a:cxn ang="0">
                <a:pos x="70" y="131"/>
              </a:cxn>
              <a:cxn ang="0">
                <a:pos x="67" y="132"/>
              </a:cxn>
              <a:cxn ang="0">
                <a:pos x="64" y="133"/>
              </a:cxn>
              <a:cxn ang="0">
                <a:pos x="60" y="133"/>
              </a:cxn>
              <a:cxn ang="0">
                <a:pos x="56" y="133"/>
              </a:cxn>
              <a:cxn ang="0">
                <a:pos x="53" y="132"/>
              </a:cxn>
              <a:cxn ang="0">
                <a:pos x="50" y="131"/>
              </a:cxn>
              <a:cxn ang="0">
                <a:pos x="47" y="129"/>
              </a:cxn>
              <a:cxn ang="0">
                <a:pos x="41" y="128"/>
              </a:cxn>
              <a:cxn ang="0">
                <a:pos x="34" y="125"/>
              </a:cxn>
              <a:cxn ang="0">
                <a:pos x="26" y="120"/>
              </a:cxn>
              <a:cxn ang="0">
                <a:pos x="19" y="115"/>
              </a:cxn>
              <a:cxn ang="0">
                <a:pos x="11" y="108"/>
              </a:cxn>
              <a:cxn ang="0">
                <a:pos x="6" y="101"/>
              </a:cxn>
              <a:cxn ang="0">
                <a:pos x="3" y="97"/>
              </a:cxn>
              <a:cxn ang="0">
                <a:pos x="2" y="94"/>
              </a:cxn>
              <a:cxn ang="0">
                <a:pos x="1" y="90"/>
              </a:cxn>
              <a:cxn ang="0">
                <a:pos x="0" y="87"/>
              </a:cxn>
              <a:cxn ang="0">
                <a:pos x="2" y="73"/>
              </a:cxn>
              <a:cxn ang="0">
                <a:pos x="8" y="55"/>
              </a:cxn>
              <a:cxn ang="0">
                <a:pos x="14" y="35"/>
              </a:cxn>
              <a:cxn ang="0">
                <a:pos x="20" y="18"/>
              </a:cxn>
              <a:cxn ang="0">
                <a:pos x="32" y="17"/>
              </a:cxn>
              <a:cxn ang="0">
                <a:pos x="42" y="16"/>
              </a:cxn>
              <a:cxn ang="0">
                <a:pos x="51" y="14"/>
              </a:cxn>
              <a:cxn ang="0">
                <a:pos x="58" y="11"/>
              </a:cxn>
              <a:cxn ang="0">
                <a:pos x="70" y="5"/>
              </a:cxn>
              <a:cxn ang="0">
                <a:pos x="80" y="0"/>
              </a:cxn>
              <a:cxn ang="0">
                <a:pos x="85" y="2"/>
              </a:cxn>
              <a:cxn ang="0">
                <a:pos x="93" y="7"/>
              </a:cxn>
              <a:cxn ang="0">
                <a:pos x="98" y="10"/>
              </a:cxn>
              <a:cxn ang="0">
                <a:pos x="102" y="13"/>
              </a:cxn>
              <a:cxn ang="0">
                <a:pos x="106" y="16"/>
              </a:cxn>
              <a:cxn ang="0">
                <a:pos x="107" y="18"/>
              </a:cxn>
              <a:cxn ang="0">
                <a:pos x="100" y="28"/>
              </a:cxn>
              <a:cxn ang="0">
                <a:pos x="93" y="37"/>
              </a:cxn>
              <a:cxn ang="0">
                <a:pos x="95" y="42"/>
              </a:cxn>
              <a:cxn ang="0">
                <a:pos x="98" y="49"/>
              </a:cxn>
              <a:cxn ang="0">
                <a:pos x="102" y="56"/>
              </a:cxn>
              <a:cxn ang="0">
                <a:pos x="107" y="63"/>
              </a:cxn>
              <a:cxn ang="0">
                <a:pos x="115" y="75"/>
              </a:cxn>
              <a:cxn ang="0">
                <a:pos x="120" y="79"/>
              </a:cxn>
              <a:cxn ang="0">
                <a:pos x="113" y="81"/>
              </a:cxn>
              <a:cxn ang="0">
                <a:pos x="107" y="84"/>
              </a:cxn>
              <a:cxn ang="0">
                <a:pos x="100" y="87"/>
              </a:cxn>
              <a:cxn ang="0">
                <a:pos x="96" y="91"/>
              </a:cxn>
              <a:cxn ang="0">
                <a:pos x="90" y="95"/>
              </a:cxn>
              <a:cxn ang="0">
                <a:pos x="87" y="99"/>
              </a:cxn>
              <a:cxn ang="0">
                <a:pos x="82" y="104"/>
              </a:cxn>
              <a:cxn ang="0">
                <a:pos x="80" y="109"/>
              </a:cxn>
              <a:cxn ang="0">
                <a:pos x="78" y="114"/>
              </a:cxn>
              <a:cxn ang="0">
                <a:pos x="77" y="120"/>
              </a:cxn>
              <a:cxn ang="0">
                <a:pos x="76" y="125"/>
              </a:cxn>
              <a:cxn ang="0">
                <a:pos x="75" y="130"/>
              </a:cxn>
              <a:cxn ang="0">
                <a:pos x="76" y="135"/>
              </a:cxn>
              <a:cxn ang="0">
                <a:pos x="77" y="140"/>
              </a:cxn>
              <a:cxn ang="0">
                <a:pos x="78" y="144"/>
              </a:cxn>
              <a:cxn ang="0">
                <a:pos x="80" y="148"/>
              </a:cxn>
              <a:cxn ang="0">
                <a:pos x="74" y="12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05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6127750" y="2662239"/>
            <a:ext cx="273050" cy="307975"/>
          </a:xfrm>
          <a:custGeom>
            <a:avLst/>
            <a:gdLst/>
            <a:ahLst/>
            <a:cxnLst>
              <a:cxn ang="0">
                <a:pos x="21" y="2"/>
              </a:cxn>
              <a:cxn ang="0">
                <a:pos x="32" y="4"/>
              </a:cxn>
              <a:cxn ang="0">
                <a:pos x="54" y="8"/>
              </a:cxn>
              <a:cxn ang="0">
                <a:pos x="78" y="11"/>
              </a:cxn>
              <a:cxn ang="0">
                <a:pos x="104" y="19"/>
              </a:cxn>
              <a:cxn ang="0">
                <a:pos x="130" y="32"/>
              </a:cxn>
              <a:cxn ang="0">
                <a:pos x="146" y="40"/>
              </a:cxn>
              <a:cxn ang="0">
                <a:pos x="159" y="43"/>
              </a:cxn>
              <a:cxn ang="0">
                <a:pos x="189" y="43"/>
              </a:cxn>
              <a:cxn ang="0">
                <a:pos x="227" y="37"/>
              </a:cxn>
              <a:cxn ang="0">
                <a:pos x="277" y="23"/>
              </a:cxn>
              <a:cxn ang="0">
                <a:pos x="399" y="38"/>
              </a:cxn>
              <a:cxn ang="0">
                <a:pos x="403" y="69"/>
              </a:cxn>
              <a:cxn ang="0">
                <a:pos x="410" y="95"/>
              </a:cxn>
              <a:cxn ang="0">
                <a:pos x="417" y="119"/>
              </a:cxn>
              <a:cxn ang="0">
                <a:pos x="427" y="140"/>
              </a:cxn>
              <a:cxn ang="0">
                <a:pos x="450" y="175"/>
              </a:cxn>
              <a:cxn ang="0">
                <a:pos x="472" y="204"/>
              </a:cxn>
              <a:cxn ang="0">
                <a:pos x="482" y="222"/>
              </a:cxn>
              <a:cxn ang="0">
                <a:pos x="485" y="240"/>
              </a:cxn>
              <a:cxn ang="0">
                <a:pos x="491" y="255"/>
              </a:cxn>
              <a:cxn ang="0">
                <a:pos x="496" y="261"/>
              </a:cxn>
              <a:cxn ang="0">
                <a:pos x="505" y="266"/>
              </a:cxn>
              <a:cxn ang="0">
                <a:pos x="513" y="270"/>
              </a:cxn>
              <a:cxn ang="0">
                <a:pos x="519" y="278"/>
              </a:cxn>
              <a:cxn ang="0">
                <a:pos x="533" y="303"/>
              </a:cxn>
              <a:cxn ang="0">
                <a:pos x="541" y="331"/>
              </a:cxn>
              <a:cxn ang="0">
                <a:pos x="545" y="358"/>
              </a:cxn>
              <a:cxn ang="0">
                <a:pos x="548" y="368"/>
              </a:cxn>
              <a:cxn ang="0">
                <a:pos x="557" y="381"/>
              </a:cxn>
              <a:cxn ang="0">
                <a:pos x="583" y="415"/>
              </a:cxn>
              <a:cxn ang="0">
                <a:pos x="612" y="447"/>
              </a:cxn>
              <a:cxn ang="0">
                <a:pos x="631" y="463"/>
              </a:cxn>
              <a:cxn ang="0">
                <a:pos x="612" y="481"/>
              </a:cxn>
              <a:cxn ang="0">
                <a:pos x="624" y="496"/>
              </a:cxn>
              <a:cxn ang="0">
                <a:pos x="626" y="507"/>
              </a:cxn>
              <a:cxn ang="0">
                <a:pos x="626" y="516"/>
              </a:cxn>
              <a:cxn ang="0">
                <a:pos x="631" y="531"/>
              </a:cxn>
              <a:cxn ang="0">
                <a:pos x="626" y="539"/>
              </a:cxn>
              <a:cxn ang="0">
                <a:pos x="617" y="548"/>
              </a:cxn>
              <a:cxn ang="0">
                <a:pos x="592" y="569"/>
              </a:cxn>
              <a:cxn ang="0">
                <a:pos x="558" y="592"/>
              </a:cxn>
              <a:cxn ang="0">
                <a:pos x="46" y="174"/>
              </a:cxn>
              <a:cxn ang="0">
                <a:pos x="25" y="157"/>
              </a:cxn>
              <a:cxn ang="0">
                <a:pos x="11" y="138"/>
              </a:cxn>
              <a:cxn ang="0">
                <a:pos x="2" y="117"/>
              </a:cxn>
              <a:cxn ang="0">
                <a:pos x="0" y="93"/>
              </a:cxn>
              <a:cxn ang="0">
                <a:pos x="3" y="89"/>
              </a:cxn>
              <a:cxn ang="0">
                <a:pos x="10" y="83"/>
              </a:cxn>
              <a:cxn ang="0">
                <a:pos x="17" y="77"/>
              </a:cxn>
              <a:cxn ang="0">
                <a:pos x="20" y="69"/>
              </a:cxn>
              <a:cxn ang="0">
                <a:pos x="18" y="53"/>
              </a:cxn>
              <a:cxn ang="0">
                <a:pos x="13" y="42"/>
              </a:cxn>
              <a:cxn ang="0">
                <a:pos x="9" y="34"/>
              </a:cxn>
              <a:cxn ang="0">
                <a:pos x="7" y="26"/>
              </a:cxn>
              <a:cxn ang="0">
                <a:pos x="13" y="0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06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5722938" y="2297113"/>
            <a:ext cx="17462" cy="57150"/>
          </a:xfrm>
          <a:custGeom>
            <a:avLst/>
            <a:gdLst/>
            <a:ahLst/>
            <a:cxnLst>
              <a:cxn ang="0">
                <a:pos x="7" y="31"/>
              </a:cxn>
              <a:cxn ang="0">
                <a:pos x="10" y="30"/>
              </a:cxn>
              <a:cxn ang="0">
                <a:pos x="14" y="26"/>
              </a:cxn>
              <a:cxn ang="0">
                <a:pos x="20" y="20"/>
              </a:cxn>
              <a:cxn ang="0">
                <a:pos x="25" y="15"/>
              </a:cxn>
              <a:cxn ang="0">
                <a:pos x="35" y="4"/>
              </a:cxn>
              <a:cxn ang="0">
                <a:pos x="40" y="0"/>
              </a:cxn>
              <a:cxn ang="0">
                <a:pos x="37" y="26"/>
              </a:cxn>
              <a:cxn ang="0">
                <a:pos x="35" y="53"/>
              </a:cxn>
              <a:cxn ang="0">
                <a:pos x="34" y="65"/>
              </a:cxn>
              <a:cxn ang="0">
                <a:pos x="34" y="77"/>
              </a:cxn>
              <a:cxn ang="0">
                <a:pos x="35" y="82"/>
              </a:cxn>
              <a:cxn ang="0">
                <a:pos x="36" y="86"/>
              </a:cxn>
              <a:cxn ang="0">
                <a:pos x="37" y="90"/>
              </a:cxn>
              <a:cxn ang="0">
                <a:pos x="40" y="93"/>
              </a:cxn>
              <a:cxn ang="0">
                <a:pos x="26" y="93"/>
              </a:cxn>
              <a:cxn ang="0">
                <a:pos x="13" y="93"/>
              </a:cxn>
              <a:cxn ang="0">
                <a:pos x="11" y="92"/>
              </a:cxn>
              <a:cxn ang="0">
                <a:pos x="8" y="91"/>
              </a:cxn>
              <a:cxn ang="0">
                <a:pos x="6" y="88"/>
              </a:cxn>
              <a:cxn ang="0">
                <a:pos x="4" y="86"/>
              </a:cxn>
              <a:cxn ang="0">
                <a:pos x="1" y="80"/>
              </a:cxn>
              <a:cxn ang="0">
                <a:pos x="0" y="73"/>
              </a:cxn>
              <a:cxn ang="0">
                <a:pos x="1" y="64"/>
              </a:cxn>
              <a:cxn ang="0">
                <a:pos x="3" y="50"/>
              </a:cxn>
              <a:cxn ang="0">
                <a:pos x="6" y="37"/>
              </a:cxn>
              <a:cxn ang="0">
                <a:pos x="7" y="31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07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5362576" y="2047875"/>
            <a:ext cx="295275" cy="273050"/>
          </a:xfrm>
          <a:custGeom>
            <a:avLst/>
            <a:gdLst/>
            <a:ahLst/>
            <a:cxnLst>
              <a:cxn ang="0">
                <a:pos x="149" y="445"/>
              </a:cxn>
              <a:cxn ang="0">
                <a:pos x="151" y="431"/>
              </a:cxn>
              <a:cxn ang="0">
                <a:pos x="146" y="400"/>
              </a:cxn>
              <a:cxn ang="0">
                <a:pos x="151" y="353"/>
              </a:cxn>
              <a:cxn ang="0">
                <a:pos x="146" y="298"/>
              </a:cxn>
              <a:cxn ang="0">
                <a:pos x="134" y="251"/>
              </a:cxn>
              <a:cxn ang="0">
                <a:pos x="109" y="241"/>
              </a:cxn>
              <a:cxn ang="0">
                <a:pos x="20" y="192"/>
              </a:cxn>
              <a:cxn ang="0">
                <a:pos x="24" y="171"/>
              </a:cxn>
              <a:cxn ang="0">
                <a:pos x="36" y="159"/>
              </a:cxn>
              <a:cxn ang="0">
                <a:pos x="48" y="148"/>
              </a:cxn>
              <a:cxn ang="0">
                <a:pos x="100" y="155"/>
              </a:cxn>
              <a:cxn ang="0">
                <a:pos x="125" y="152"/>
              </a:cxn>
              <a:cxn ang="0">
                <a:pos x="147" y="157"/>
              </a:cxn>
              <a:cxn ang="0">
                <a:pos x="165" y="94"/>
              </a:cxn>
              <a:cxn ang="0">
                <a:pos x="185" y="109"/>
              </a:cxn>
              <a:cxn ang="0">
                <a:pos x="207" y="110"/>
              </a:cxn>
              <a:cxn ang="0">
                <a:pos x="236" y="99"/>
              </a:cxn>
              <a:cxn ang="0">
                <a:pos x="264" y="80"/>
              </a:cxn>
              <a:cxn ang="0">
                <a:pos x="289" y="57"/>
              </a:cxn>
              <a:cxn ang="0">
                <a:pos x="308" y="32"/>
              </a:cxn>
              <a:cxn ang="0">
                <a:pos x="318" y="12"/>
              </a:cxn>
              <a:cxn ang="0">
                <a:pos x="370" y="4"/>
              </a:cxn>
              <a:cxn ang="0">
                <a:pos x="404" y="32"/>
              </a:cxn>
              <a:cxn ang="0">
                <a:pos x="457" y="61"/>
              </a:cxn>
              <a:cxn ang="0">
                <a:pos x="511" y="90"/>
              </a:cxn>
              <a:cxn ang="0">
                <a:pos x="552" y="107"/>
              </a:cxn>
              <a:cxn ang="0">
                <a:pos x="578" y="116"/>
              </a:cxn>
              <a:cxn ang="0">
                <a:pos x="623" y="121"/>
              </a:cxn>
              <a:cxn ang="0">
                <a:pos x="658" y="136"/>
              </a:cxn>
              <a:cxn ang="0">
                <a:pos x="645" y="166"/>
              </a:cxn>
              <a:cxn ang="0">
                <a:pos x="620" y="236"/>
              </a:cxn>
              <a:cxn ang="0">
                <a:pos x="598" y="272"/>
              </a:cxn>
              <a:cxn ang="0">
                <a:pos x="585" y="286"/>
              </a:cxn>
              <a:cxn ang="0">
                <a:pos x="599" y="298"/>
              </a:cxn>
              <a:cxn ang="0">
                <a:pos x="618" y="307"/>
              </a:cxn>
              <a:cxn ang="0">
                <a:pos x="623" y="334"/>
              </a:cxn>
              <a:cxn ang="0">
                <a:pos x="620" y="347"/>
              </a:cxn>
              <a:cxn ang="0">
                <a:pos x="618" y="372"/>
              </a:cxn>
              <a:cxn ang="0">
                <a:pos x="622" y="399"/>
              </a:cxn>
              <a:cxn ang="0">
                <a:pos x="632" y="423"/>
              </a:cxn>
              <a:cxn ang="0">
                <a:pos x="608" y="457"/>
              </a:cxn>
              <a:cxn ang="0">
                <a:pos x="569" y="484"/>
              </a:cxn>
              <a:cxn ang="0">
                <a:pos x="542" y="489"/>
              </a:cxn>
              <a:cxn ang="0">
                <a:pos x="509" y="481"/>
              </a:cxn>
              <a:cxn ang="0">
                <a:pos x="477" y="460"/>
              </a:cxn>
              <a:cxn ang="0">
                <a:pos x="463" y="456"/>
              </a:cxn>
              <a:cxn ang="0">
                <a:pos x="443" y="457"/>
              </a:cxn>
              <a:cxn ang="0">
                <a:pos x="423" y="465"/>
              </a:cxn>
              <a:cxn ang="0">
                <a:pos x="406" y="477"/>
              </a:cxn>
              <a:cxn ang="0">
                <a:pos x="388" y="503"/>
              </a:cxn>
              <a:cxn ang="0">
                <a:pos x="385" y="517"/>
              </a:cxn>
              <a:cxn ang="0">
                <a:pos x="333" y="515"/>
              </a:cxn>
              <a:cxn ang="0">
                <a:pos x="317" y="507"/>
              </a:cxn>
              <a:cxn ang="0">
                <a:pos x="307" y="500"/>
              </a:cxn>
              <a:cxn ang="0">
                <a:pos x="296" y="508"/>
              </a:cxn>
              <a:cxn ang="0">
                <a:pos x="287" y="516"/>
              </a:cxn>
              <a:cxn ang="0">
                <a:pos x="268" y="516"/>
              </a:cxn>
              <a:cxn ang="0">
                <a:pos x="227" y="506"/>
              </a:cxn>
              <a:cxn ang="0">
                <a:pos x="185" y="487"/>
              </a:cxn>
              <a:cxn ang="0">
                <a:pos x="160" y="469"/>
              </a:cxn>
              <a:cxn ang="0">
                <a:pos x="146" y="450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08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6443663" y="2282825"/>
            <a:ext cx="150812" cy="82550"/>
          </a:xfrm>
          <a:custGeom>
            <a:avLst/>
            <a:gdLst/>
            <a:ahLst/>
            <a:cxnLst>
              <a:cxn ang="0">
                <a:pos x="332" y="91"/>
              </a:cxn>
              <a:cxn ang="0">
                <a:pos x="352" y="153"/>
              </a:cxn>
              <a:cxn ang="0">
                <a:pos x="326" y="141"/>
              </a:cxn>
              <a:cxn ang="0">
                <a:pos x="299" y="129"/>
              </a:cxn>
              <a:cxn ang="0">
                <a:pos x="266" y="141"/>
              </a:cxn>
              <a:cxn ang="0">
                <a:pos x="232" y="141"/>
              </a:cxn>
              <a:cxn ang="0">
                <a:pos x="227" y="135"/>
              </a:cxn>
              <a:cxn ang="0">
                <a:pos x="226" y="135"/>
              </a:cxn>
              <a:cxn ang="0">
                <a:pos x="219" y="129"/>
              </a:cxn>
              <a:cxn ang="0">
                <a:pos x="213" y="125"/>
              </a:cxn>
              <a:cxn ang="0">
                <a:pos x="205" y="121"/>
              </a:cxn>
              <a:cxn ang="0">
                <a:pos x="197" y="118"/>
              </a:cxn>
              <a:cxn ang="0">
                <a:pos x="181" y="113"/>
              </a:cxn>
              <a:cxn ang="0">
                <a:pos x="163" y="110"/>
              </a:cxn>
              <a:cxn ang="0">
                <a:pos x="126" y="107"/>
              </a:cxn>
              <a:cxn ang="0">
                <a:pos x="86" y="104"/>
              </a:cxn>
              <a:cxn ang="0">
                <a:pos x="85" y="94"/>
              </a:cxn>
              <a:cxn ang="0">
                <a:pos x="82" y="84"/>
              </a:cxn>
              <a:cxn ang="0">
                <a:pos x="80" y="75"/>
              </a:cxn>
              <a:cxn ang="0">
                <a:pos x="75" y="67"/>
              </a:cxn>
              <a:cxn ang="0">
                <a:pos x="71" y="59"/>
              </a:cxn>
              <a:cxn ang="0">
                <a:pos x="67" y="52"/>
              </a:cxn>
              <a:cxn ang="0">
                <a:pos x="61" y="44"/>
              </a:cxn>
              <a:cxn ang="0">
                <a:pos x="56" y="37"/>
              </a:cxn>
              <a:cxn ang="0">
                <a:pos x="44" y="26"/>
              </a:cxn>
              <a:cxn ang="0">
                <a:pos x="29" y="16"/>
              </a:cxn>
              <a:cxn ang="0">
                <a:pos x="15" y="7"/>
              </a:cxn>
              <a:cxn ang="0">
                <a:pos x="0" y="0"/>
              </a:cxn>
              <a:cxn ang="0">
                <a:pos x="7" y="0"/>
              </a:cxn>
              <a:cxn ang="0">
                <a:pos x="60" y="18"/>
              </a:cxn>
              <a:cxn ang="0">
                <a:pos x="106" y="30"/>
              </a:cxn>
              <a:cxn ang="0">
                <a:pos x="134" y="18"/>
              </a:cxn>
              <a:cxn ang="0">
                <a:pos x="180" y="36"/>
              </a:cxn>
              <a:cxn ang="0">
                <a:pos x="206" y="55"/>
              </a:cxn>
              <a:cxn ang="0">
                <a:pos x="246" y="49"/>
              </a:cxn>
              <a:cxn ang="0">
                <a:pos x="286" y="61"/>
              </a:cxn>
              <a:cxn ang="0">
                <a:pos x="313" y="79"/>
              </a:cxn>
              <a:cxn ang="0">
                <a:pos x="332" y="91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09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5992814" y="2343150"/>
            <a:ext cx="147637" cy="173038"/>
          </a:xfrm>
          <a:custGeom>
            <a:avLst/>
            <a:gdLst/>
            <a:ahLst/>
            <a:cxnLst>
              <a:cxn ang="0">
                <a:pos x="230" y="40"/>
              </a:cxn>
              <a:cxn ang="0">
                <a:pos x="193" y="56"/>
              </a:cxn>
              <a:cxn ang="0">
                <a:pos x="182" y="67"/>
              </a:cxn>
              <a:cxn ang="0">
                <a:pos x="181" y="81"/>
              </a:cxn>
              <a:cxn ang="0">
                <a:pos x="184" y="94"/>
              </a:cxn>
              <a:cxn ang="0">
                <a:pos x="177" y="102"/>
              </a:cxn>
              <a:cxn ang="0">
                <a:pos x="168" y="105"/>
              </a:cxn>
              <a:cxn ang="0">
                <a:pos x="160" y="98"/>
              </a:cxn>
              <a:cxn ang="0">
                <a:pos x="149" y="85"/>
              </a:cxn>
              <a:cxn ang="0">
                <a:pos x="126" y="74"/>
              </a:cxn>
              <a:cxn ang="0">
                <a:pos x="127" y="96"/>
              </a:cxn>
              <a:cxn ang="0">
                <a:pos x="139" y="116"/>
              </a:cxn>
              <a:cxn ang="0">
                <a:pos x="154" y="129"/>
              </a:cxn>
              <a:cxn ang="0">
                <a:pos x="159" y="130"/>
              </a:cxn>
              <a:cxn ang="0">
                <a:pos x="159" y="177"/>
              </a:cxn>
              <a:cxn ang="0">
                <a:pos x="159" y="237"/>
              </a:cxn>
              <a:cxn ang="0">
                <a:pos x="156" y="251"/>
              </a:cxn>
              <a:cxn ang="0">
                <a:pos x="147" y="259"/>
              </a:cxn>
              <a:cxn ang="0">
                <a:pos x="145" y="264"/>
              </a:cxn>
              <a:cxn ang="0">
                <a:pos x="162" y="276"/>
              </a:cxn>
              <a:cxn ang="0">
                <a:pos x="167" y="286"/>
              </a:cxn>
              <a:cxn ang="0">
                <a:pos x="155" y="295"/>
              </a:cxn>
              <a:cxn ang="0">
                <a:pos x="140" y="297"/>
              </a:cxn>
              <a:cxn ang="0">
                <a:pos x="130" y="307"/>
              </a:cxn>
              <a:cxn ang="0">
                <a:pos x="126" y="321"/>
              </a:cxn>
              <a:cxn ang="0">
                <a:pos x="121" y="300"/>
              </a:cxn>
              <a:cxn ang="0">
                <a:pos x="124" y="288"/>
              </a:cxn>
              <a:cxn ang="0">
                <a:pos x="109" y="286"/>
              </a:cxn>
              <a:cxn ang="0">
                <a:pos x="93" y="292"/>
              </a:cxn>
              <a:cxn ang="0">
                <a:pos x="79" y="296"/>
              </a:cxn>
              <a:cxn ang="0">
                <a:pos x="73" y="242"/>
              </a:cxn>
              <a:cxn ang="0">
                <a:pos x="79" y="216"/>
              </a:cxn>
              <a:cxn ang="0">
                <a:pos x="48" y="211"/>
              </a:cxn>
              <a:cxn ang="0">
                <a:pos x="28" y="198"/>
              </a:cxn>
              <a:cxn ang="0">
                <a:pos x="13" y="173"/>
              </a:cxn>
              <a:cxn ang="0">
                <a:pos x="0" y="130"/>
              </a:cxn>
              <a:cxn ang="0">
                <a:pos x="28" y="111"/>
              </a:cxn>
              <a:cxn ang="0">
                <a:pos x="50" y="81"/>
              </a:cxn>
              <a:cxn ang="0">
                <a:pos x="73" y="55"/>
              </a:cxn>
              <a:cxn ang="0">
                <a:pos x="115" y="41"/>
              </a:cxn>
              <a:cxn ang="0">
                <a:pos x="180" y="14"/>
              </a:cxn>
              <a:cxn ang="0">
                <a:pos x="218" y="7"/>
              </a:cxn>
              <a:cxn ang="0">
                <a:pos x="249" y="14"/>
              </a:cxn>
              <a:cxn ang="0">
                <a:pos x="271" y="27"/>
              </a:cxn>
              <a:cxn ang="0">
                <a:pos x="292" y="30"/>
              </a:cxn>
              <a:cxn ang="0">
                <a:pos x="307" y="20"/>
              </a:cxn>
              <a:cxn ang="0">
                <a:pos x="327" y="6"/>
              </a:cxn>
              <a:cxn ang="0">
                <a:pos x="330" y="32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10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6076950" y="2535238"/>
            <a:ext cx="69850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4" y="2"/>
              </a:cxn>
              <a:cxn ang="0">
                <a:pos x="83" y="6"/>
              </a:cxn>
              <a:cxn ang="0">
                <a:pos x="103" y="8"/>
              </a:cxn>
              <a:cxn ang="0">
                <a:pos x="121" y="7"/>
              </a:cxn>
              <a:cxn ang="0">
                <a:pos x="130" y="6"/>
              </a:cxn>
              <a:cxn ang="0">
                <a:pos x="137" y="5"/>
              </a:cxn>
              <a:cxn ang="0">
                <a:pos x="145" y="3"/>
              </a:cxn>
              <a:cxn ang="0">
                <a:pos x="153" y="0"/>
              </a:cxn>
              <a:cxn ang="0">
                <a:pos x="153" y="9"/>
              </a:cxn>
              <a:cxn ang="0">
                <a:pos x="153" y="25"/>
              </a:cxn>
              <a:cxn ang="0">
                <a:pos x="143" y="31"/>
              </a:cxn>
              <a:cxn ang="0">
                <a:pos x="133" y="36"/>
              </a:cxn>
              <a:cxn ang="0">
                <a:pos x="124" y="40"/>
              </a:cxn>
              <a:cxn ang="0">
                <a:pos x="114" y="44"/>
              </a:cxn>
              <a:cxn ang="0">
                <a:pos x="106" y="46"/>
              </a:cxn>
              <a:cxn ang="0">
                <a:pos x="99" y="48"/>
              </a:cxn>
              <a:cxn ang="0">
                <a:pos x="92" y="49"/>
              </a:cxn>
              <a:cxn ang="0">
                <a:pos x="87" y="49"/>
              </a:cxn>
              <a:cxn ang="0">
                <a:pos x="72" y="48"/>
              </a:cxn>
              <a:cxn ang="0">
                <a:pos x="60" y="46"/>
              </a:cxn>
              <a:cxn ang="0">
                <a:pos x="50" y="43"/>
              </a:cxn>
              <a:cxn ang="0">
                <a:pos x="41" y="38"/>
              </a:cxn>
              <a:cxn ang="0">
                <a:pos x="22" y="29"/>
              </a:cxn>
              <a:cxn ang="0">
                <a:pos x="0" y="19"/>
              </a:cxn>
              <a:cxn ang="0">
                <a:pos x="0" y="0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11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5156201" y="3267075"/>
            <a:ext cx="187325" cy="158750"/>
          </a:xfrm>
          <a:custGeom>
            <a:avLst/>
            <a:gdLst/>
            <a:ahLst/>
            <a:cxnLst>
              <a:cxn ang="0">
                <a:pos x="194" y="16"/>
              </a:cxn>
              <a:cxn ang="0">
                <a:pos x="216" y="22"/>
              </a:cxn>
              <a:cxn ang="0">
                <a:pos x="230" y="29"/>
              </a:cxn>
              <a:cxn ang="0">
                <a:pos x="253" y="35"/>
              </a:cxn>
              <a:cxn ang="0">
                <a:pos x="279" y="37"/>
              </a:cxn>
              <a:cxn ang="0">
                <a:pos x="300" y="37"/>
              </a:cxn>
              <a:cxn ang="0">
                <a:pos x="319" y="34"/>
              </a:cxn>
              <a:cxn ang="0">
                <a:pos x="329" y="29"/>
              </a:cxn>
              <a:cxn ang="0">
                <a:pos x="365" y="25"/>
              </a:cxn>
              <a:cxn ang="0">
                <a:pos x="372" y="49"/>
              </a:cxn>
              <a:cxn ang="0">
                <a:pos x="383" y="74"/>
              </a:cxn>
              <a:cxn ang="0">
                <a:pos x="391" y="84"/>
              </a:cxn>
              <a:cxn ang="0">
                <a:pos x="400" y="92"/>
              </a:cxn>
              <a:cxn ang="0">
                <a:pos x="412" y="97"/>
              </a:cxn>
              <a:cxn ang="0">
                <a:pos x="425" y="99"/>
              </a:cxn>
              <a:cxn ang="0">
                <a:pos x="425" y="120"/>
              </a:cxn>
              <a:cxn ang="0">
                <a:pos x="425" y="142"/>
              </a:cxn>
              <a:cxn ang="0">
                <a:pos x="416" y="158"/>
              </a:cxn>
              <a:cxn ang="0">
                <a:pos x="412" y="170"/>
              </a:cxn>
              <a:cxn ang="0">
                <a:pos x="412" y="181"/>
              </a:cxn>
              <a:cxn ang="0">
                <a:pos x="415" y="190"/>
              </a:cxn>
              <a:cxn ang="0">
                <a:pos x="423" y="211"/>
              </a:cxn>
              <a:cxn ang="0">
                <a:pos x="426" y="226"/>
              </a:cxn>
              <a:cxn ang="0">
                <a:pos x="425" y="247"/>
              </a:cxn>
              <a:cxn ang="0">
                <a:pos x="426" y="274"/>
              </a:cxn>
              <a:cxn ang="0">
                <a:pos x="423" y="285"/>
              </a:cxn>
              <a:cxn ang="0">
                <a:pos x="412" y="296"/>
              </a:cxn>
              <a:cxn ang="0">
                <a:pos x="380" y="298"/>
              </a:cxn>
              <a:cxn ang="0">
                <a:pos x="370" y="299"/>
              </a:cxn>
              <a:cxn ang="0">
                <a:pos x="360" y="296"/>
              </a:cxn>
              <a:cxn ang="0">
                <a:pos x="351" y="290"/>
              </a:cxn>
              <a:cxn ang="0">
                <a:pos x="338" y="278"/>
              </a:cxn>
              <a:cxn ang="0">
                <a:pos x="324" y="261"/>
              </a:cxn>
              <a:cxn ang="0">
                <a:pos x="311" y="253"/>
              </a:cxn>
              <a:cxn ang="0">
                <a:pos x="294" y="251"/>
              </a:cxn>
              <a:cxn ang="0">
                <a:pos x="278" y="232"/>
              </a:cxn>
              <a:cxn ang="0">
                <a:pos x="274" y="210"/>
              </a:cxn>
              <a:cxn ang="0">
                <a:pos x="269" y="197"/>
              </a:cxn>
              <a:cxn ang="0">
                <a:pos x="261" y="184"/>
              </a:cxn>
              <a:cxn ang="0">
                <a:pos x="251" y="173"/>
              </a:cxn>
              <a:cxn ang="0">
                <a:pos x="238" y="165"/>
              </a:cxn>
              <a:cxn ang="0">
                <a:pos x="222" y="161"/>
              </a:cxn>
              <a:cxn ang="0">
                <a:pos x="204" y="161"/>
              </a:cxn>
              <a:cxn ang="0">
                <a:pos x="188" y="163"/>
              </a:cxn>
              <a:cxn ang="0">
                <a:pos x="173" y="168"/>
              </a:cxn>
              <a:cxn ang="0">
                <a:pos x="160" y="176"/>
              </a:cxn>
              <a:cxn ang="0">
                <a:pos x="141" y="191"/>
              </a:cxn>
              <a:cxn ang="0">
                <a:pos x="118" y="215"/>
              </a:cxn>
              <a:cxn ang="0">
                <a:pos x="105" y="218"/>
              </a:cxn>
              <a:cxn ang="0">
                <a:pos x="100" y="201"/>
              </a:cxn>
              <a:cxn ang="0">
                <a:pos x="90" y="186"/>
              </a:cxn>
              <a:cxn ang="0">
                <a:pos x="76" y="171"/>
              </a:cxn>
              <a:cxn ang="0">
                <a:pos x="50" y="153"/>
              </a:cxn>
              <a:cxn ang="0">
                <a:pos x="24" y="134"/>
              </a:cxn>
              <a:cxn ang="0">
                <a:pos x="8" y="119"/>
              </a:cxn>
              <a:cxn ang="0">
                <a:pos x="15" y="101"/>
              </a:cxn>
              <a:cxn ang="0">
                <a:pos x="46" y="77"/>
              </a:cxn>
              <a:cxn ang="0">
                <a:pos x="75" y="48"/>
              </a:cxn>
              <a:cxn ang="0">
                <a:pos x="98" y="17"/>
              </a:cxn>
              <a:cxn ang="0">
                <a:pos x="179" y="13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12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7200900" y="2530476"/>
            <a:ext cx="692150" cy="874713"/>
          </a:xfrm>
          <a:custGeom>
            <a:avLst/>
            <a:gdLst/>
            <a:ahLst/>
            <a:cxnLst>
              <a:cxn ang="0">
                <a:pos x="477" y="107"/>
              </a:cxn>
              <a:cxn ang="0">
                <a:pos x="485" y="185"/>
              </a:cxn>
              <a:cxn ang="0">
                <a:pos x="578" y="287"/>
              </a:cxn>
              <a:cxn ang="0">
                <a:pos x="701" y="459"/>
              </a:cxn>
              <a:cxn ang="0">
                <a:pos x="795" y="499"/>
              </a:cxn>
              <a:cxn ang="0">
                <a:pos x="877" y="493"/>
              </a:cxn>
              <a:cxn ang="0">
                <a:pos x="930" y="537"/>
              </a:cxn>
              <a:cxn ang="0">
                <a:pos x="1102" y="567"/>
              </a:cxn>
              <a:cxn ang="0">
                <a:pos x="1121" y="461"/>
              </a:cxn>
              <a:cxn ang="0">
                <a:pos x="1179" y="539"/>
              </a:cxn>
              <a:cxn ang="0">
                <a:pos x="1243" y="561"/>
              </a:cxn>
              <a:cxn ang="0">
                <a:pos x="1299" y="498"/>
              </a:cxn>
              <a:cxn ang="0">
                <a:pos x="1404" y="409"/>
              </a:cxn>
              <a:cxn ang="0">
                <a:pos x="1549" y="428"/>
              </a:cxn>
              <a:cxn ang="0">
                <a:pos x="1579" y="498"/>
              </a:cxn>
              <a:cxn ang="0">
                <a:pos x="1504" y="542"/>
              </a:cxn>
              <a:cxn ang="0">
                <a:pos x="1485" y="679"/>
              </a:cxn>
              <a:cxn ang="0">
                <a:pos x="1429" y="704"/>
              </a:cxn>
              <a:cxn ang="0">
                <a:pos x="1408" y="814"/>
              </a:cxn>
              <a:cxn ang="0">
                <a:pos x="1321" y="754"/>
              </a:cxn>
              <a:cxn ang="0">
                <a:pos x="1323" y="698"/>
              </a:cxn>
              <a:cxn ang="0">
                <a:pos x="1225" y="638"/>
              </a:cxn>
              <a:cxn ang="0">
                <a:pos x="1187" y="588"/>
              </a:cxn>
              <a:cxn ang="0">
                <a:pos x="1131" y="575"/>
              </a:cxn>
              <a:cxn ang="0">
                <a:pos x="1127" y="625"/>
              </a:cxn>
              <a:cxn ang="0">
                <a:pos x="1117" y="683"/>
              </a:cxn>
              <a:cxn ang="0">
                <a:pos x="1160" y="735"/>
              </a:cxn>
              <a:cxn ang="0">
                <a:pos x="1149" y="843"/>
              </a:cxn>
              <a:cxn ang="0">
                <a:pos x="1075" y="864"/>
              </a:cxn>
              <a:cxn ang="0">
                <a:pos x="1049" y="937"/>
              </a:cxn>
              <a:cxn ang="0">
                <a:pos x="954" y="1001"/>
              </a:cxn>
              <a:cxn ang="0">
                <a:pos x="912" y="1050"/>
              </a:cxn>
              <a:cxn ang="0">
                <a:pos x="780" y="1188"/>
              </a:cxn>
              <a:cxn ang="0">
                <a:pos x="723" y="1233"/>
              </a:cxn>
              <a:cxn ang="0">
                <a:pos x="744" y="1344"/>
              </a:cxn>
              <a:cxn ang="0">
                <a:pos x="712" y="1445"/>
              </a:cxn>
              <a:cxn ang="0">
                <a:pos x="722" y="1524"/>
              </a:cxn>
              <a:cxn ang="0">
                <a:pos x="693" y="1576"/>
              </a:cxn>
              <a:cxn ang="0">
                <a:pos x="595" y="1663"/>
              </a:cxn>
              <a:cxn ang="0">
                <a:pos x="516" y="1529"/>
              </a:cxn>
              <a:cxn ang="0">
                <a:pos x="419" y="1334"/>
              </a:cxn>
              <a:cxn ang="0">
                <a:pos x="301" y="1114"/>
              </a:cxn>
              <a:cxn ang="0">
                <a:pos x="259" y="861"/>
              </a:cxn>
              <a:cxn ang="0">
                <a:pos x="230" y="814"/>
              </a:cxn>
              <a:cxn ang="0">
                <a:pos x="164" y="900"/>
              </a:cxn>
              <a:cxn ang="0">
                <a:pos x="90" y="876"/>
              </a:cxn>
              <a:cxn ang="0">
                <a:pos x="51" y="798"/>
              </a:cxn>
              <a:cxn ang="0">
                <a:pos x="30" y="771"/>
              </a:cxn>
              <a:cxn ang="0">
                <a:pos x="32" y="708"/>
              </a:cxn>
              <a:cxn ang="0">
                <a:pos x="159" y="659"/>
              </a:cxn>
              <a:cxn ang="0">
                <a:pos x="92" y="569"/>
              </a:cxn>
              <a:cxn ang="0">
                <a:pos x="59" y="500"/>
              </a:cxn>
              <a:cxn ang="0">
                <a:pos x="162" y="459"/>
              </a:cxn>
              <a:cxn ang="0">
                <a:pos x="270" y="294"/>
              </a:cxn>
              <a:cxn ang="0">
                <a:pos x="274" y="230"/>
              </a:cxn>
              <a:cxn ang="0">
                <a:pos x="227" y="142"/>
              </a:cxn>
              <a:cxn ang="0">
                <a:pos x="322" y="54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13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5322888" y="3325814"/>
            <a:ext cx="158750" cy="206375"/>
          </a:xfrm>
          <a:custGeom>
            <a:avLst/>
            <a:gdLst/>
            <a:ahLst/>
            <a:cxnLst>
              <a:cxn ang="0">
                <a:pos x="53" y="382"/>
              </a:cxn>
              <a:cxn ang="0">
                <a:pos x="53" y="358"/>
              </a:cxn>
              <a:cxn ang="0">
                <a:pos x="53" y="333"/>
              </a:cxn>
              <a:cxn ang="0">
                <a:pos x="50" y="312"/>
              </a:cxn>
              <a:cxn ang="0">
                <a:pos x="43" y="293"/>
              </a:cxn>
              <a:cxn ang="0">
                <a:pos x="35" y="277"/>
              </a:cxn>
              <a:cxn ang="0">
                <a:pos x="13" y="245"/>
              </a:cxn>
              <a:cxn ang="0">
                <a:pos x="0" y="185"/>
              </a:cxn>
              <a:cxn ang="0">
                <a:pos x="33" y="181"/>
              </a:cxn>
              <a:cxn ang="0">
                <a:pos x="40" y="169"/>
              </a:cxn>
              <a:cxn ang="0">
                <a:pos x="41" y="150"/>
              </a:cxn>
              <a:cxn ang="0">
                <a:pos x="38" y="107"/>
              </a:cxn>
              <a:cxn ang="0">
                <a:pos x="31" y="65"/>
              </a:cxn>
              <a:cxn ang="0">
                <a:pos x="32" y="47"/>
              </a:cxn>
              <a:cxn ang="0">
                <a:pos x="36" y="36"/>
              </a:cxn>
              <a:cxn ang="0">
                <a:pos x="120" y="31"/>
              </a:cxn>
              <a:cxn ang="0">
                <a:pos x="122" y="22"/>
              </a:cxn>
              <a:cxn ang="0">
                <a:pos x="128" y="14"/>
              </a:cxn>
              <a:cxn ang="0">
                <a:pos x="140" y="0"/>
              </a:cxn>
              <a:cxn ang="0">
                <a:pos x="142" y="18"/>
              </a:cxn>
              <a:cxn ang="0">
                <a:pos x="142" y="26"/>
              </a:cxn>
              <a:cxn ang="0">
                <a:pos x="140" y="31"/>
              </a:cxn>
              <a:cxn ang="0">
                <a:pos x="168" y="31"/>
              </a:cxn>
              <a:cxn ang="0">
                <a:pos x="186" y="31"/>
              </a:cxn>
              <a:cxn ang="0">
                <a:pos x="214" y="38"/>
              </a:cxn>
              <a:cxn ang="0">
                <a:pos x="233" y="49"/>
              </a:cxn>
              <a:cxn ang="0">
                <a:pos x="246" y="58"/>
              </a:cxn>
              <a:cxn ang="0">
                <a:pos x="259" y="61"/>
              </a:cxn>
              <a:cxn ang="0">
                <a:pos x="268" y="59"/>
              </a:cxn>
              <a:cxn ang="0">
                <a:pos x="275" y="54"/>
              </a:cxn>
              <a:cxn ang="0">
                <a:pos x="286" y="37"/>
              </a:cxn>
              <a:cxn ang="0">
                <a:pos x="312" y="52"/>
              </a:cxn>
              <a:cxn ang="0">
                <a:pos x="325" y="59"/>
              </a:cxn>
              <a:cxn ang="0">
                <a:pos x="338" y="61"/>
              </a:cxn>
              <a:cxn ang="0">
                <a:pos x="353" y="161"/>
              </a:cxn>
              <a:cxn ang="0">
                <a:pos x="338" y="185"/>
              </a:cxn>
              <a:cxn ang="0">
                <a:pos x="323" y="206"/>
              </a:cxn>
              <a:cxn ang="0">
                <a:pos x="315" y="224"/>
              </a:cxn>
              <a:cxn ang="0">
                <a:pos x="313" y="239"/>
              </a:cxn>
              <a:cxn ang="0">
                <a:pos x="313" y="255"/>
              </a:cxn>
              <a:cxn ang="0">
                <a:pos x="321" y="273"/>
              </a:cxn>
              <a:cxn ang="0">
                <a:pos x="331" y="293"/>
              </a:cxn>
              <a:cxn ang="0">
                <a:pos x="337" y="309"/>
              </a:cxn>
              <a:cxn ang="0">
                <a:pos x="337" y="321"/>
              </a:cxn>
              <a:cxn ang="0">
                <a:pos x="330" y="337"/>
              </a:cxn>
              <a:cxn ang="0">
                <a:pos x="326" y="351"/>
              </a:cxn>
              <a:cxn ang="0">
                <a:pos x="319" y="358"/>
              </a:cxn>
              <a:cxn ang="0">
                <a:pos x="308" y="356"/>
              </a:cxn>
              <a:cxn ang="0">
                <a:pos x="298" y="350"/>
              </a:cxn>
              <a:cxn ang="0">
                <a:pos x="287" y="340"/>
              </a:cxn>
              <a:cxn ang="0">
                <a:pos x="277" y="335"/>
              </a:cxn>
              <a:cxn ang="0">
                <a:pos x="266" y="333"/>
              </a:cxn>
              <a:cxn ang="0">
                <a:pos x="246" y="333"/>
              </a:cxn>
              <a:cxn ang="0">
                <a:pos x="221" y="336"/>
              </a:cxn>
              <a:cxn ang="0">
                <a:pos x="181" y="343"/>
              </a:cxn>
              <a:cxn ang="0">
                <a:pos x="131" y="359"/>
              </a:cxn>
              <a:cxn ang="0">
                <a:pos x="86" y="375"/>
              </a:cxn>
              <a:cxn ang="0">
                <a:pos x="53" y="394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14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6391275" y="3521076"/>
            <a:ext cx="192088" cy="271463"/>
          </a:xfrm>
          <a:custGeom>
            <a:avLst/>
            <a:gdLst/>
            <a:ahLst/>
            <a:cxnLst>
              <a:cxn ang="0">
                <a:pos x="410" y="105"/>
              </a:cxn>
              <a:cxn ang="0">
                <a:pos x="405" y="98"/>
              </a:cxn>
              <a:cxn ang="0">
                <a:pos x="408" y="92"/>
              </a:cxn>
              <a:cxn ang="0">
                <a:pos x="422" y="77"/>
              </a:cxn>
              <a:cxn ang="0">
                <a:pos x="441" y="60"/>
              </a:cxn>
              <a:cxn ang="0">
                <a:pos x="447" y="50"/>
              </a:cxn>
              <a:cxn ang="0">
                <a:pos x="449" y="37"/>
              </a:cxn>
              <a:cxn ang="0">
                <a:pos x="432" y="34"/>
              </a:cxn>
              <a:cxn ang="0">
                <a:pos x="422" y="27"/>
              </a:cxn>
              <a:cxn ang="0">
                <a:pos x="411" y="21"/>
              </a:cxn>
              <a:cxn ang="0">
                <a:pos x="390" y="18"/>
              </a:cxn>
              <a:cxn ang="0">
                <a:pos x="377" y="20"/>
              </a:cxn>
              <a:cxn ang="0">
                <a:pos x="368" y="24"/>
              </a:cxn>
              <a:cxn ang="0">
                <a:pos x="355" y="37"/>
              </a:cxn>
              <a:cxn ang="0">
                <a:pos x="340" y="50"/>
              </a:cxn>
              <a:cxn ang="0">
                <a:pos x="326" y="54"/>
              </a:cxn>
              <a:cxn ang="0">
                <a:pos x="310" y="55"/>
              </a:cxn>
              <a:cxn ang="0">
                <a:pos x="287" y="54"/>
              </a:cxn>
              <a:cxn ang="0">
                <a:pos x="267" y="50"/>
              </a:cxn>
              <a:cxn ang="0">
                <a:pos x="235" y="36"/>
              </a:cxn>
              <a:cxn ang="0">
                <a:pos x="206" y="19"/>
              </a:cxn>
              <a:cxn ang="0">
                <a:pos x="189" y="12"/>
              </a:cxn>
              <a:cxn ang="0">
                <a:pos x="170" y="6"/>
              </a:cxn>
              <a:cxn ang="0">
                <a:pos x="134" y="8"/>
              </a:cxn>
              <a:cxn ang="0">
                <a:pos x="119" y="6"/>
              </a:cxn>
              <a:cxn ang="0">
                <a:pos x="103" y="0"/>
              </a:cxn>
              <a:cxn ang="0">
                <a:pos x="52" y="0"/>
              </a:cxn>
              <a:cxn ang="0">
                <a:pos x="5" y="0"/>
              </a:cxn>
              <a:cxn ang="0">
                <a:pos x="5" y="18"/>
              </a:cxn>
              <a:cxn ang="0">
                <a:pos x="5" y="37"/>
              </a:cxn>
              <a:cxn ang="0">
                <a:pos x="15" y="60"/>
              </a:cxn>
              <a:cxn ang="0">
                <a:pos x="23" y="91"/>
              </a:cxn>
              <a:cxn ang="0">
                <a:pos x="31" y="128"/>
              </a:cxn>
              <a:cxn ang="0">
                <a:pos x="38" y="172"/>
              </a:cxn>
              <a:cxn ang="0">
                <a:pos x="37" y="206"/>
              </a:cxn>
              <a:cxn ang="0">
                <a:pos x="29" y="230"/>
              </a:cxn>
              <a:cxn ang="0">
                <a:pos x="7" y="269"/>
              </a:cxn>
              <a:cxn ang="0">
                <a:pos x="10" y="321"/>
              </a:cxn>
              <a:cxn ang="0">
                <a:pos x="28" y="339"/>
              </a:cxn>
              <a:cxn ang="0">
                <a:pos x="84" y="367"/>
              </a:cxn>
              <a:cxn ang="0">
                <a:pos x="136" y="396"/>
              </a:cxn>
              <a:cxn ang="0">
                <a:pos x="170" y="420"/>
              </a:cxn>
              <a:cxn ang="0">
                <a:pos x="189" y="436"/>
              </a:cxn>
              <a:cxn ang="0">
                <a:pos x="198" y="451"/>
              </a:cxn>
              <a:cxn ang="0">
                <a:pos x="201" y="464"/>
              </a:cxn>
              <a:cxn ang="0">
                <a:pos x="209" y="479"/>
              </a:cxn>
              <a:cxn ang="0">
                <a:pos x="220" y="492"/>
              </a:cxn>
              <a:cxn ang="0">
                <a:pos x="233" y="503"/>
              </a:cxn>
              <a:cxn ang="0">
                <a:pos x="247" y="512"/>
              </a:cxn>
              <a:cxn ang="0">
                <a:pos x="264" y="519"/>
              </a:cxn>
              <a:cxn ang="0">
                <a:pos x="281" y="523"/>
              </a:cxn>
              <a:cxn ang="0">
                <a:pos x="304" y="502"/>
              </a:cxn>
              <a:cxn ang="0">
                <a:pos x="335" y="462"/>
              </a:cxn>
              <a:cxn ang="0">
                <a:pos x="365" y="427"/>
              </a:cxn>
              <a:cxn ang="0">
                <a:pos x="394" y="390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15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6373813" y="2606676"/>
            <a:ext cx="101600" cy="130175"/>
          </a:xfrm>
          <a:custGeom>
            <a:avLst/>
            <a:gdLst/>
            <a:ahLst/>
            <a:cxnLst>
              <a:cxn ang="0">
                <a:pos x="12" y="228"/>
              </a:cxn>
              <a:cxn ang="0">
                <a:pos x="36" y="240"/>
              </a:cxn>
              <a:cxn ang="0">
                <a:pos x="53" y="245"/>
              </a:cxn>
              <a:cxn ang="0">
                <a:pos x="68" y="245"/>
              </a:cxn>
              <a:cxn ang="0">
                <a:pos x="85" y="241"/>
              </a:cxn>
              <a:cxn ang="0">
                <a:pos x="110" y="228"/>
              </a:cxn>
              <a:cxn ang="0">
                <a:pos x="141" y="205"/>
              </a:cxn>
              <a:cxn ang="0">
                <a:pos x="161" y="184"/>
              </a:cxn>
              <a:cxn ang="0">
                <a:pos x="159" y="173"/>
              </a:cxn>
              <a:cxn ang="0">
                <a:pos x="149" y="160"/>
              </a:cxn>
              <a:cxn ang="0">
                <a:pos x="143" y="145"/>
              </a:cxn>
              <a:cxn ang="0">
                <a:pos x="141" y="130"/>
              </a:cxn>
              <a:cxn ang="0">
                <a:pos x="141" y="116"/>
              </a:cxn>
              <a:cxn ang="0">
                <a:pos x="146" y="105"/>
              </a:cxn>
              <a:cxn ang="0">
                <a:pos x="156" y="94"/>
              </a:cxn>
              <a:cxn ang="0">
                <a:pos x="168" y="86"/>
              </a:cxn>
              <a:cxn ang="0">
                <a:pos x="204" y="71"/>
              </a:cxn>
              <a:cxn ang="0">
                <a:pos x="225" y="49"/>
              </a:cxn>
              <a:cxn ang="0">
                <a:pos x="221" y="30"/>
              </a:cxn>
              <a:cxn ang="0">
                <a:pos x="214" y="17"/>
              </a:cxn>
              <a:cxn ang="0">
                <a:pos x="212" y="6"/>
              </a:cxn>
              <a:cxn ang="0">
                <a:pos x="202" y="1"/>
              </a:cxn>
              <a:cxn ang="0">
                <a:pos x="181" y="7"/>
              </a:cxn>
              <a:cxn ang="0">
                <a:pos x="154" y="20"/>
              </a:cxn>
              <a:cxn ang="0">
                <a:pos x="121" y="38"/>
              </a:cxn>
              <a:cxn ang="0">
                <a:pos x="100" y="51"/>
              </a:cxn>
              <a:cxn ang="0">
                <a:pos x="87" y="55"/>
              </a:cxn>
              <a:cxn ang="0">
                <a:pos x="75" y="54"/>
              </a:cxn>
              <a:cxn ang="0">
                <a:pos x="59" y="47"/>
              </a:cxn>
              <a:cxn ang="0">
                <a:pos x="36" y="31"/>
              </a:cxn>
              <a:cxn ang="0">
                <a:pos x="24" y="39"/>
              </a:cxn>
              <a:cxn ang="0">
                <a:pos x="18" y="95"/>
              </a:cxn>
              <a:cxn ang="0">
                <a:pos x="10" y="163"/>
              </a:cxn>
              <a:cxn ang="0">
                <a:pos x="3" y="212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16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6672264" y="2709863"/>
            <a:ext cx="22225" cy="55562"/>
          </a:xfrm>
          <a:custGeom>
            <a:avLst/>
            <a:gdLst/>
            <a:ahLst/>
            <a:cxnLst>
              <a:cxn ang="0">
                <a:pos x="27" y="0"/>
              </a:cxn>
              <a:cxn ang="0">
                <a:pos x="29" y="2"/>
              </a:cxn>
              <a:cxn ang="0">
                <a:pos x="32" y="3"/>
              </a:cxn>
              <a:cxn ang="0">
                <a:pos x="36" y="3"/>
              </a:cxn>
              <a:cxn ang="0">
                <a:pos x="40" y="2"/>
              </a:cxn>
              <a:cxn ang="0">
                <a:pos x="47" y="1"/>
              </a:cxn>
              <a:cxn ang="0">
                <a:pos x="53" y="0"/>
              </a:cxn>
              <a:cxn ang="0">
                <a:pos x="53" y="26"/>
              </a:cxn>
              <a:cxn ang="0">
                <a:pos x="54" y="47"/>
              </a:cxn>
              <a:cxn ang="0">
                <a:pos x="54" y="57"/>
              </a:cxn>
              <a:cxn ang="0">
                <a:pos x="56" y="65"/>
              </a:cxn>
              <a:cxn ang="0">
                <a:pos x="58" y="73"/>
              </a:cxn>
              <a:cxn ang="0">
                <a:pos x="60" y="81"/>
              </a:cxn>
              <a:cxn ang="0">
                <a:pos x="20" y="81"/>
              </a:cxn>
              <a:cxn ang="0">
                <a:pos x="14" y="80"/>
              </a:cxn>
              <a:cxn ang="0">
                <a:pos x="7" y="77"/>
              </a:cxn>
              <a:cxn ang="0">
                <a:pos x="5" y="74"/>
              </a:cxn>
              <a:cxn ang="0">
                <a:pos x="2" y="72"/>
              </a:cxn>
              <a:cxn ang="0">
                <a:pos x="1" y="70"/>
              </a:cxn>
              <a:cxn ang="0">
                <a:pos x="0" y="68"/>
              </a:cxn>
              <a:cxn ang="0">
                <a:pos x="7" y="12"/>
              </a:cxn>
              <a:cxn ang="0">
                <a:pos x="20" y="6"/>
              </a:cxn>
              <a:cxn ang="0">
                <a:pos x="34" y="0"/>
              </a:cxn>
              <a:cxn ang="0">
                <a:pos x="27" y="0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17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5959476" y="1844676"/>
            <a:ext cx="161925" cy="66675"/>
          </a:xfrm>
          <a:custGeom>
            <a:avLst/>
            <a:gdLst/>
            <a:ahLst/>
            <a:cxnLst>
              <a:cxn ang="0">
                <a:pos x="250" y="117"/>
              </a:cxn>
              <a:cxn ang="0">
                <a:pos x="258" y="119"/>
              </a:cxn>
              <a:cxn ang="0">
                <a:pos x="277" y="123"/>
              </a:cxn>
              <a:cxn ang="0">
                <a:pos x="295" y="127"/>
              </a:cxn>
              <a:cxn ang="0">
                <a:pos x="303" y="129"/>
              </a:cxn>
              <a:cxn ang="0">
                <a:pos x="370" y="97"/>
              </a:cxn>
              <a:cxn ang="0">
                <a:pos x="358" y="75"/>
              </a:cxn>
              <a:cxn ang="0">
                <a:pos x="345" y="48"/>
              </a:cxn>
              <a:cxn ang="0">
                <a:pos x="335" y="27"/>
              </a:cxn>
              <a:cxn ang="0">
                <a:pos x="330" y="18"/>
              </a:cxn>
              <a:cxn ang="0">
                <a:pos x="300" y="15"/>
              </a:cxn>
              <a:cxn ang="0">
                <a:pos x="257" y="9"/>
              </a:cxn>
              <a:cxn ang="0">
                <a:pos x="214" y="2"/>
              </a:cxn>
              <a:cxn ang="0">
                <a:pos x="183" y="0"/>
              </a:cxn>
              <a:cxn ang="0">
                <a:pos x="179" y="0"/>
              </a:cxn>
              <a:cxn ang="0">
                <a:pos x="176" y="1"/>
              </a:cxn>
              <a:cxn ang="0">
                <a:pos x="172" y="2"/>
              </a:cxn>
              <a:cxn ang="0">
                <a:pos x="170" y="3"/>
              </a:cxn>
              <a:cxn ang="0">
                <a:pos x="162" y="7"/>
              </a:cxn>
              <a:cxn ang="0">
                <a:pos x="150" y="12"/>
              </a:cxn>
              <a:cxn ang="0">
                <a:pos x="147" y="21"/>
              </a:cxn>
              <a:cxn ang="0">
                <a:pos x="140" y="35"/>
              </a:cxn>
              <a:cxn ang="0">
                <a:pos x="134" y="48"/>
              </a:cxn>
              <a:cxn ang="0">
                <a:pos x="131" y="55"/>
              </a:cxn>
              <a:cxn ang="0">
                <a:pos x="122" y="54"/>
              </a:cxn>
              <a:cxn ang="0">
                <a:pos x="111" y="49"/>
              </a:cxn>
              <a:cxn ang="0">
                <a:pos x="98" y="44"/>
              </a:cxn>
              <a:cxn ang="0">
                <a:pos x="84" y="38"/>
              </a:cxn>
              <a:cxn ang="0">
                <a:pos x="60" y="26"/>
              </a:cxn>
              <a:cxn ang="0">
                <a:pos x="44" y="18"/>
              </a:cxn>
              <a:cxn ang="0">
                <a:pos x="32" y="25"/>
              </a:cxn>
              <a:cxn ang="0">
                <a:pos x="21" y="33"/>
              </a:cxn>
              <a:cxn ang="0">
                <a:pos x="16" y="37"/>
              </a:cxn>
              <a:cxn ang="0">
                <a:pos x="12" y="41"/>
              </a:cxn>
              <a:cxn ang="0">
                <a:pos x="9" y="46"/>
              </a:cxn>
              <a:cxn ang="0">
                <a:pos x="5" y="52"/>
              </a:cxn>
              <a:cxn ang="0">
                <a:pos x="3" y="57"/>
              </a:cxn>
              <a:cxn ang="0">
                <a:pos x="1" y="63"/>
              </a:cxn>
              <a:cxn ang="0">
                <a:pos x="0" y="69"/>
              </a:cxn>
              <a:cxn ang="0">
                <a:pos x="0" y="75"/>
              </a:cxn>
              <a:cxn ang="0">
                <a:pos x="1" y="82"/>
              </a:cxn>
              <a:cxn ang="0">
                <a:pos x="3" y="88"/>
              </a:cxn>
              <a:cxn ang="0">
                <a:pos x="6" y="96"/>
              </a:cxn>
              <a:cxn ang="0">
                <a:pos x="11" y="103"/>
              </a:cxn>
              <a:cxn ang="0">
                <a:pos x="20" y="101"/>
              </a:cxn>
              <a:cxn ang="0">
                <a:pos x="33" y="99"/>
              </a:cxn>
              <a:cxn ang="0">
                <a:pos x="50" y="97"/>
              </a:cxn>
              <a:cxn ang="0">
                <a:pos x="69" y="95"/>
              </a:cxn>
              <a:cxn ang="0">
                <a:pos x="102" y="92"/>
              </a:cxn>
              <a:cxn ang="0">
                <a:pos x="117" y="91"/>
              </a:cxn>
              <a:cxn ang="0">
                <a:pos x="137" y="92"/>
              </a:cxn>
              <a:cxn ang="0">
                <a:pos x="152" y="94"/>
              </a:cxn>
              <a:cxn ang="0">
                <a:pos x="166" y="97"/>
              </a:cxn>
              <a:cxn ang="0">
                <a:pos x="177" y="100"/>
              </a:cxn>
              <a:cxn ang="0">
                <a:pos x="189" y="104"/>
              </a:cxn>
              <a:cxn ang="0">
                <a:pos x="201" y="108"/>
              </a:cxn>
              <a:cxn ang="0">
                <a:pos x="217" y="110"/>
              </a:cxn>
              <a:cxn ang="0">
                <a:pos x="237" y="111"/>
              </a:cxn>
              <a:cxn ang="0">
                <a:pos x="237" y="117"/>
              </a:cxn>
              <a:cxn ang="0">
                <a:pos x="250" y="117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18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6370638" y="2565400"/>
            <a:ext cx="30162" cy="57150"/>
          </a:xfrm>
          <a:custGeom>
            <a:avLst/>
            <a:gdLst/>
            <a:ahLst/>
            <a:cxnLst>
              <a:cxn ang="0">
                <a:pos x="27" y="1"/>
              </a:cxn>
              <a:cxn ang="0">
                <a:pos x="34" y="0"/>
              </a:cxn>
              <a:cxn ang="0">
                <a:pos x="41" y="0"/>
              </a:cxn>
              <a:cxn ang="0">
                <a:pos x="47" y="2"/>
              </a:cxn>
              <a:cxn ang="0">
                <a:pos x="54" y="4"/>
              </a:cxn>
              <a:cxn ang="0">
                <a:pos x="60" y="6"/>
              </a:cxn>
              <a:cxn ang="0">
                <a:pos x="66" y="8"/>
              </a:cxn>
              <a:cxn ang="0">
                <a:pos x="73" y="8"/>
              </a:cxn>
              <a:cxn ang="0">
                <a:pos x="80" y="7"/>
              </a:cxn>
              <a:cxn ang="0">
                <a:pos x="80" y="38"/>
              </a:cxn>
              <a:cxn ang="0">
                <a:pos x="75" y="44"/>
              </a:cxn>
              <a:cxn ang="0">
                <a:pos x="69" y="51"/>
              </a:cxn>
              <a:cxn ang="0">
                <a:pos x="64" y="59"/>
              </a:cxn>
              <a:cxn ang="0">
                <a:pos x="58" y="68"/>
              </a:cxn>
              <a:cxn ang="0">
                <a:pos x="51" y="84"/>
              </a:cxn>
              <a:cxn ang="0">
                <a:pos x="47" y="94"/>
              </a:cxn>
              <a:cxn ang="0">
                <a:pos x="43" y="93"/>
              </a:cxn>
              <a:cxn ang="0">
                <a:pos x="40" y="92"/>
              </a:cxn>
              <a:cxn ang="0">
                <a:pos x="37" y="91"/>
              </a:cxn>
              <a:cxn ang="0">
                <a:pos x="34" y="89"/>
              </a:cxn>
              <a:cxn ang="0">
                <a:pos x="29" y="84"/>
              </a:cxn>
              <a:cxn ang="0">
                <a:pos x="23" y="78"/>
              </a:cxn>
              <a:cxn ang="0">
                <a:pos x="19" y="72"/>
              </a:cxn>
              <a:cxn ang="0">
                <a:pos x="13" y="65"/>
              </a:cxn>
              <a:cxn ang="0">
                <a:pos x="7" y="60"/>
              </a:cxn>
              <a:cxn ang="0">
                <a:pos x="0" y="56"/>
              </a:cxn>
              <a:cxn ang="0">
                <a:pos x="8" y="41"/>
              </a:cxn>
              <a:cxn ang="0">
                <a:pos x="13" y="29"/>
              </a:cxn>
              <a:cxn ang="0">
                <a:pos x="19" y="17"/>
              </a:cxn>
              <a:cxn ang="0">
                <a:pos x="27" y="1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19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6186488" y="4576763"/>
            <a:ext cx="61912" cy="57150"/>
          </a:xfrm>
          <a:custGeom>
            <a:avLst/>
            <a:gdLst/>
            <a:ahLst/>
            <a:cxnLst>
              <a:cxn ang="0">
                <a:pos x="3" y="55"/>
              </a:cxn>
              <a:cxn ang="0">
                <a:pos x="11" y="54"/>
              </a:cxn>
              <a:cxn ang="0">
                <a:pos x="18" y="53"/>
              </a:cxn>
              <a:cxn ang="0">
                <a:pos x="24" y="50"/>
              </a:cxn>
              <a:cxn ang="0">
                <a:pos x="31" y="47"/>
              </a:cxn>
              <a:cxn ang="0">
                <a:pos x="42" y="38"/>
              </a:cxn>
              <a:cxn ang="0">
                <a:pos x="52" y="28"/>
              </a:cxn>
              <a:cxn ang="0">
                <a:pos x="61" y="18"/>
              </a:cxn>
              <a:cxn ang="0">
                <a:pos x="71" y="8"/>
              </a:cxn>
              <a:cxn ang="0">
                <a:pos x="76" y="5"/>
              </a:cxn>
              <a:cxn ang="0">
                <a:pos x="82" y="2"/>
              </a:cxn>
              <a:cxn ang="0">
                <a:pos x="88" y="0"/>
              </a:cxn>
              <a:cxn ang="0">
                <a:pos x="96" y="0"/>
              </a:cxn>
              <a:cxn ang="0">
                <a:pos x="102" y="0"/>
              </a:cxn>
              <a:cxn ang="0">
                <a:pos x="110" y="3"/>
              </a:cxn>
              <a:cxn ang="0">
                <a:pos x="117" y="6"/>
              </a:cxn>
              <a:cxn ang="0">
                <a:pos x="123" y="11"/>
              </a:cxn>
              <a:cxn ang="0">
                <a:pos x="128" y="16"/>
              </a:cxn>
              <a:cxn ang="0">
                <a:pos x="132" y="24"/>
              </a:cxn>
              <a:cxn ang="0">
                <a:pos x="134" y="30"/>
              </a:cxn>
              <a:cxn ang="0">
                <a:pos x="135" y="37"/>
              </a:cxn>
              <a:cxn ang="0">
                <a:pos x="134" y="40"/>
              </a:cxn>
              <a:cxn ang="0">
                <a:pos x="132" y="43"/>
              </a:cxn>
              <a:cxn ang="0">
                <a:pos x="129" y="47"/>
              </a:cxn>
              <a:cxn ang="0">
                <a:pos x="124" y="51"/>
              </a:cxn>
              <a:cxn ang="0">
                <a:pos x="113" y="61"/>
              </a:cxn>
              <a:cxn ang="0">
                <a:pos x="100" y="72"/>
              </a:cxn>
              <a:cxn ang="0">
                <a:pos x="87" y="82"/>
              </a:cxn>
              <a:cxn ang="0">
                <a:pos x="74" y="91"/>
              </a:cxn>
              <a:cxn ang="0">
                <a:pos x="63" y="96"/>
              </a:cxn>
              <a:cxn ang="0">
                <a:pos x="55" y="98"/>
              </a:cxn>
              <a:cxn ang="0">
                <a:pos x="51" y="97"/>
              </a:cxn>
              <a:cxn ang="0">
                <a:pos x="43" y="92"/>
              </a:cxn>
              <a:cxn ang="0">
                <a:pos x="32" y="85"/>
              </a:cxn>
              <a:cxn ang="0">
                <a:pos x="21" y="77"/>
              </a:cxn>
              <a:cxn ang="0">
                <a:pos x="11" y="68"/>
              </a:cxn>
              <a:cxn ang="0">
                <a:pos x="5" y="62"/>
              </a:cxn>
              <a:cxn ang="0">
                <a:pos x="1" y="59"/>
              </a:cxn>
              <a:cxn ang="0">
                <a:pos x="0" y="57"/>
              </a:cxn>
              <a:cxn ang="0">
                <a:pos x="0" y="56"/>
              </a:cxn>
              <a:cxn ang="0">
                <a:pos x="3" y="55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20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5957888" y="1892300"/>
            <a:ext cx="131762" cy="84138"/>
          </a:xfrm>
          <a:custGeom>
            <a:avLst/>
            <a:gdLst/>
            <a:ahLst/>
            <a:cxnLst>
              <a:cxn ang="0">
                <a:pos x="192" y="155"/>
              </a:cxn>
              <a:cxn ang="0">
                <a:pos x="194" y="151"/>
              </a:cxn>
              <a:cxn ang="0">
                <a:pos x="197" y="148"/>
              </a:cxn>
              <a:cxn ang="0">
                <a:pos x="200" y="145"/>
              </a:cxn>
              <a:cxn ang="0">
                <a:pos x="203" y="142"/>
              </a:cxn>
              <a:cxn ang="0">
                <a:pos x="211" y="137"/>
              </a:cxn>
              <a:cxn ang="0">
                <a:pos x="220" y="132"/>
              </a:cxn>
              <a:cxn ang="0">
                <a:pos x="238" y="123"/>
              </a:cxn>
              <a:cxn ang="0">
                <a:pos x="253" y="117"/>
              </a:cxn>
              <a:cxn ang="0">
                <a:pos x="255" y="109"/>
              </a:cxn>
              <a:cxn ang="0">
                <a:pos x="260" y="97"/>
              </a:cxn>
              <a:cxn ang="0">
                <a:pos x="264" y="91"/>
              </a:cxn>
              <a:cxn ang="0">
                <a:pos x="267" y="86"/>
              </a:cxn>
              <a:cxn ang="0">
                <a:pos x="269" y="82"/>
              </a:cxn>
              <a:cxn ang="0">
                <a:pos x="272" y="81"/>
              </a:cxn>
              <a:cxn ang="0">
                <a:pos x="312" y="44"/>
              </a:cxn>
              <a:cxn ang="0">
                <a:pos x="312" y="39"/>
              </a:cxn>
              <a:cxn ang="0">
                <a:pos x="310" y="35"/>
              </a:cxn>
              <a:cxn ang="0">
                <a:pos x="306" y="32"/>
              </a:cxn>
              <a:cxn ang="0">
                <a:pos x="302" y="30"/>
              </a:cxn>
              <a:cxn ang="0">
                <a:pos x="291" y="28"/>
              </a:cxn>
              <a:cxn ang="0">
                <a:pos x="280" y="27"/>
              </a:cxn>
              <a:cxn ang="0">
                <a:pos x="268" y="27"/>
              </a:cxn>
              <a:cxn ang="0">
                <a:pos x="259" y="27"/>
              </a:cxn>
              <a:cxn ang="0">
                <a:pos x="256" y="26"/>
              </a:cxn>
              <a:cxn ang="0">
                <a:pos x="253" y="25"/>
              </a:cxn>
              <a:cxn ang="0">
                <a:pos x="252" y="23"/>
              </a:cxn>
              <a:cxn ang="0">
                <a:pos x="253" y="20"/>
              </a:cxn>
              <a:cxn ang="0">
                <a:pos x="232" y="19"/>
              </a:cxn>
              <a:cxn ang="0">
                <a:pos x="216" y="17"/>
              </a:cxn>
              <a:cxn ang="0">
                <a:pos x="202" y="13"/>
              </a:cxn>
              <a:cxn ang="0">
                <a:pos x="189" y="9"/>
              </a:cxn>
              <a:cxn ang="0">
                <a:pos x="177" y="6"/>
              </a:cxn>
              <a:cxn ang="0">
                <a:pos x="163" y="3"/>
              </a:cxn>
              <a:cxn ang="0">
                <a:pos x="146" y="1"/>
              </a:cxn>
              <a:cxn ang="0">
                <a:pos x="126" y="0"/>
              </a:cxn>
              <a:cxn ang="0">
                <a:pos x="110" y="1"/>
              </a:cxn>
              <a:cxn ang="0">
                <a:pos x="74" y="4"/>
              </a:cxn>
              <a:cxn ang="0">
                <a:pos x="53" y="6"/>
              </a:cxn>
              <a:cxn ang="0">
                <a:pos x="34" y="8"/>
              </a:cxn>
              <a:cxn ang="0">
                <a:pos x="18" y="10"/>
              </a:cxn>
              <a:cxn ang="0">
                <a:pos x="7" y="12"/>
              </a:cxn>
              <a:cxn ang="0">
                <a:pos x="9" y="17"/>
              </a:cxn>
              <a:cxn ang="0">
                <a:pos x="11" y="19"/>
              </a:cxn>
              <a:cxn ang="0">
                <a:pos x="13" y="19"/>
              </a:cxn>
              <a:cxn ang="0">
                <a:pos x="15" y="20"/>
              </a:cxn>
              <a:cxn ang="0">
                <a:pos x="18" y="20"/>
              </a:cxn>
              <a:cxn ang="0">
                <a:pos x="19" y="20"/>
              </a:cxn>
              <a:cxn ang="0">
                <a:pos x="20" y="22"/>
              </a:cxn>
              <a:cxn ang="0">
                <a:pos x="20" y="26"/>
              </a:cxn>
              <a:cxn ang="0">
                <a:pos x="20" y="30"/>
              </a:cxn>
              <a:cxn ang="0">
                <a:pos x="19" y="35"/>
              </a:cxn>
              <a:cxn ang="0">
                <a:pos x="18" y="39"/>
              </a:cxn>
              <a:cxn ang="0">
                <a:pos x="15" y="42"/>
              </a:cxn>
              <a:cxn ang="0">
                <a:pos x="12" y="45"/>
              </a:cxn>
              <a:cxn ang="0">
                <a:pos x="9" y="48"/>
              </a:cxn>
              <a:cxn ang="0">
                <a:pos x="4" y="49"/>
              </a:cxn>
              <a:cxn ang="0">
                <a:pos x="0" y="50"/>
              </a:cxn>
              <a:cxn ang="0">
                <a:pos x="74" y="68"/>
              </a:cxn>
              <a:cxn ang="0">
                <a:pos x="87" y="111"/>
              </a:cxn>
              <a:cxn ang="0">
                <a:pos x="166" y="123"/>
              </a:cxn>
              <a:cxn ang="0">
                <a:pos x="192" y="155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21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5664200" y="2078039"/>
            <a:ext cx="19050" cy="60325"/>
          </a:xfrm>
          <a:custGeom>
            <a:avLst/>
            <a:gdLst/>
            <a:ahLst/>
            <a:cxnLst>
              <a:cxn ang="0">
                <a:pos x="0" y="25"/>
              </a:cxn>
              <a:cxn ang="0">
                <a:pos x="2" y="18"/>
              </a:cxn>
              <a:cxn ang="0">
                <a:pos x="1" y="14"/>
              </a:cxn>
              <a:cxn ang="0">
                <a:pos x="2" y="13"/>
              </a:cxn>
              <a:cxn ang="0">
                <a:pos x="3" y="13"/>
              </a:cxn>
              <a:cxn ang="0">
                <a:pos x="6" y="12"/>
              </a:cxn>
              <a:cxn ang="0">
                <a:pos x="13" y="12"/>
              </a:cxn>
              <a:cxn ang="0">
                <a:pos x="46" y="0"/>
              </a:cxn>
              <a:cxn ang="0">
                <a:pos x="46" y="50"/>
              </a:cxn>
              <a:cxn ang="0">
                <a:pos x="40" y="49"/>
              </a:cxn>
              <a:cxn ang="0">
                <a:pos x="33" y="45"/>
              </a:cxn>
              <a:cxn ang="0">
                <a:pos x="25" y="41"/>
              </a:cxn>
              <a:cxn ang="0">
                <a:pos x="17" y="37"/>
              </a:cxn>
              <a:cxn ang="0">
                <a:pos x="5" y="28"/>
              </a:cxn>
              <a:cxn ang="0">
                <a:pos x="0" y="25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22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6361113" y="3962400"/>
            <a:ext cx="69850" cy="241300"/>
          </a:xfrm>
          <a:custGeom>
            <a:avLst/>
            <a:gdLst/>
            <a:ahLst/>
            <a:cxnLst>
              <a:cxn ang="0">
                <a:pos x="10" y="282"/>
              </a:cxn>
              <a:cxn ang="0">
                <a:pos x="19" y="290"/>
              </a:cxn>
              <a:cxn ang="0">
                <a:pos x="37" y="300"/>
              </a:cxn>
              <a:cxn ang="0">
                <a:pos x="58" y="306"/>
              </a:cxn>
              <a:cxn ang="0">
                <a:pos x="70" y="312"/>
              </a:cxn>
              <a:cxn ang="0">
                <a:pos x="80" y="320"/>
              </a:cxn>
              <a:cxn ang="0">
                <a:pos x="86" y="331"/>
              </a:cxn>
              <a:cxn ang="0">
                <a:pos x="86" y="347"/>
              </a:cxn>
              <a:cxn ang="0">
                <a:pos x="78" y="363"/>
              </a:cxn>
              <a:cxn ang="0">
                <a:pos x="68" y="375"/>
              </a:cxn>
              <a:cxn ang="0">
                <a:pos x="62" y="388"/>
              </a:cxn>
              <a:cxn ang="0">
                <a:pos x="60" y="400"/>
              </a:cxn>
              <a:cxn ang="0">
                <a:pos x="64" y="411"/>
              </a:cxn>
              <a:cxn ang="0">
                <a:pos x="76" y="424"/>
              </a:cxn>
              <a:cxn ang="0">
                <a:pos x="104" y="445"/>
              </a:cxn>
              <a:cxn ang="0">
                <a:pos x="120" y="443"/>
              </a:cxn>
              <a:cxn ang="0">
                <a:pos x="120" y="423"/>
              </a:cxn>
              <a:cxn ang="0">
                <a:pos x="131" y="413"/>
              </a:cxn>
              <a:cxn ang="0">
                <a:pos x="145" y="407"/>
              </a:cxn>
              <a:cxn ang="0">
                <a:pos x="153" y="402"/>
              </a:cxn>
              <a:cxn ang="0">
                <a:pos x="160" y="393"/>
              </a:cxn>
              <a:cxn ang="0">
                <a:pos x="166" y="375"/>
              </a:cxn>
              <a:cxn ang="0">
                <a:pos x="165" y="350"/>
              </a:cxn>
              <a:cxn ang="0">
                <a:pos x="158" y="328"/>
              </a:cxn>
              <a:cxn ang="0">
                <a:pos x="148" y="307"/>
              </a:cxn>
              <a:cxn ang="0">
                <a:pos x="141" y="284"/>
              </a:cxn>
              <a:cxn ang="0">
                <a:pos x="135" y="269"/>
              </a:cxn>
              <a:cxn ang="0">
                <a:pos x="118" y="251"/>
              </a:cxn>
              <a:cxn ang="0">
                <a:pos x="97" y="224"/>
              </a:cxn>
              <a:cxn ang="0">
                <a:pos x="85" y="206"/>
              </a:cxn>
              <a:cxn ang="0">
                <a:pos x="80" y="195"/>
              </a:cxn>
              <a:cxn ang="0">
                <a:pos x="81" y="177"/>
              </a:cxn>
              <a:cxn ang="0">
                <a:pos x="88" y="147"/>
              </a:cxn>
              <a:cxn ang="0">
                <a:pos x="96" y="129"/>
              </a:cxn>
              <a:cxn ang="0">
                <a:pos x="98" y="113"/>
              </a:cxn>
              <a:cxn ang="0">
                <a:pos x="95" y="82"/>
              </a:cxn>
              <a:cxn ang="0">
                <a:pos x="92" y="45"/>
              </a:cxn>
              <a:cxn ang="0">
                <a:pos x="89" y="18"/>
              </a:cxn>
              <a:cxn ang="0">
                <a:pos x="71" y="8"/>
              </a:cxn>
              <a:cxn ang="0">
                <a:pos x="33" y="4"/>
              </a:cxn>
              <a:cxn ang="0">
                <a:pos x="12" y="10"/>
              </a:cxn>
              <a:cxn ang="0">
                <a:pos x="22" y="25"/>
              </a:cxn>
              <a:cxn ang="0">
                <a:pos x="33" y="30"/>
              </a:cxn>
              <a:cxn ang="0">
                <a:pos x="40" y="44"/>
              </a:cxn>
              <a:cxn ang="0">
                <a:pos x="40" y="64"/>
              </a:cxn>
              <a:cxn ang="0">
                <a:pos x="40" y="78"/>
              </a:cxn>
              <a:cxn ang="0">
                <a:pos x="36" y="85"/>
              </a:cxn>
              <a:cxn ang="0">
                <a:pos x="29" y="95"/>
              </a:cxn>
              <a:cxn ang="0">
                <a:pos x="15" y="109"/>
              </a:cxn>
              <a:cxn ang="0">
                <a:pos x="3" y="122"/>
              </a:cxn>
              <a:cxn ang="0">
                <a:pos x="7" y="277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23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5853114" y="2533650"/>
            <a:ext cx="14287" cy="57150"/>
          </a:xfrm>
          <a:custGeom>
            <a:avLst/>
            <a:gdLst/>
            <a:ahLst/>
            <a:cxnLst>
              <a:cxn ang="0">
                <a:pos x="27" y="0"/>
              </a:cxn>
              <a:cxn ang="0">
                <a:pos x="27" y="12"/>
              </a:cxn>
              <a:cxn ang="0">
                <a:pos x="27" y="19"/>
              </a:cxn>
              <a:cxn ang="0">
                <a:pos x="9" y="19"/>
              </a:cxn>
              <a:cxn ang="0">
                <a:pos x="0" y="19"/>
              </a:cxn>
              <a:cxn ang="0">
                <a:pos x="9" y="12"/>
              </a:cxn>
              <a:cxn ang="0">
                <a:pos x="27" y="0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24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6172201" y="4154489"/>
            <a:ext cx="188913" cy="217487"/>
          </a:xfrm>
          <a:custGeom>
            <a:avLst/>
            <a:gdLst/>
            <a:ahLst/>
            <a:cxnLst>
              <a:cxn ang="0">
                <a:pos x="284" y="8"/>
              </a:cxn>
              <a:cxn ang="0">
                <a:pos x="320" y="27"/>
              </a:cxn>
              <a:cxn ang="0">
                <a:pos x="363" y="47"/>
              </a:cxn>
              <a:cxn ang="0">
                <a:pos x="395" y="58"/>
              </a:cxn>
              <a:cxn ang="0">
                <a:pos x="416" y="61"/>
              </a:cxn>
              <a:cxn ang="0">
                <a:pos x="425" y="81"/>
              </a:cxn>
              <a:cxn ang="0">
                <a:pos x="429" y="120"/>
              </a:cxn>
              <a:cxn ang="0">
                <a:pos x="434" y="157"/>
              </a:cxn>
              <a:cxn ang="0">
                <a:pos x="438" y="195"/>
              </a:cxn>
              <a:cxn ang="0">
                <a:pos x="438" y="223"/>
              </a:cxn>
              <a:cxn ang="0">
                <a:pos x="435" y="237"/>
              </a:cxn>
              <a:cxn ang="0">
                <a:pos x="425" y="259"/>
              </a:cxn>
              <a:cxn ang="0">
                <a:pos x="407" y="287"/>
              </a:cxn>
              <a:cxn ang="0">
                <a:pos x="391" y="307"/>
              </a:cxn>
              <a:cxn ang="0">
                <a:pos x="381" y="320"/>
              </a:cxn>
              <a:cxn ang="0">
                <a:pos x="374" y="332"/>
              </a:cxn>
              <a:cxn ang="0">
                <a:pos x="372" y="352"/>
              </a:cxn>
              <a:cxn ang="0">
                <a:pos x="359" y="372"/>
              </a:cxn>
              <a:cxn ang="0">
                <a:pos x="321" y="401"/>
              </a:cxn>
              <a:cxn ang="0">
                <a:pos x="205" y="388"/>
              </a:cxn>
              <a:cxn ang="0">
                <a:pos x="182" y="379"/>
              </a:cxn>
              <a:cxn ang="0">
                <a:pos x="165" y="370"/>
              </a:cxn>
              <a:cxn ang="0">
                <a:pos x="150" y="359"/>
              </a:cxn>
              <a:cxn ang="0">
                <a:pos x="139" y="346"/>
              </a:cxn>
              <a:cxn ang="0">
                <a:pos x="124" y="322"/>
              </a:cxn>
              <a:cxn ang="0">
                <a:pos x="108" y="296"/>
              </a:cxn>
              <a:cxn ang="0">
                <a:pos x="94" y="279"/>
              </a:cxn>
              <a:cxn ang="0">
                <a:pos x="72" y="259"/>
              </a:cxn>
              <a:cxn ang="0">
                <a:pos x="44" y="234"/>
              </a:cxn>
              <a:cxn ang="0">
                <a:pos x="24" y="213"/>
              </a:cxn>
              <a:cxn ang="0">
                <a:pos x="13" y="195"/>
              </a:cxn>
              <a:cxn ang="0">
                <a:pos x="4" y="176"/>
              </a:cxn>
              <a:cxn ang="0">
                <a:pos x="0" y="154"/>
              </a:cxn>
              <a:cxn ang="0">
                <a:pos x="18" y="141"/>
              </a:cxn>
              <a:cxn ang="0">
                <a:pos x="40" y="141"/>
              </a:cxn>
              <a:cxn ang="0">
                <a:pos x="53" y="141"/>
              </a:cxn>
              <a:cxn ang="0">
                <a:pos x="63" y="138"/>
              </a:cxn>
              <a:cxn ang="0">
                <a:pos x="77" y="131"/>
              </a:cxn>
              <a:cxn ang="0">
                <a:pos x="99" y="108"/>
              </a:cxn>
              <a:cxn ang="0">
                <a:pos x="117" y="87"/>
              </a:cxn>
              <a:cxn ang="0">
                <a:pos x="130" y="80"/>
              </a:cxn>
              <a:cxn ang="0">
                <a:pos x="150" y="71"/>
              </a:cxn>
              <a:cxn ang="0">
                <a:pos x="179" y="60"/>
              </a:cxn>
              <a:cxn ang="0">
                <a:pos x="203" y="50"/>
              </a:cxn>
              <a:cxn ang="0">
                <a:pos x="211" y="43"/>
              </a:cxn>
              <a:cxn ang="0">
                <a:pos x="210" y="38"/>
              </a:cxn>
              <a:cxn ang="0">
                <a:pos x="211" y="30"/>
              </a:cxn>
              <a:cxn ang="0">
                <a:pos x="213" y="17"/>
              </a:cxn>
              <a:cxn ang="0">
                <a:pos x="217" y="12"/>
              </a:cxn>
              <a:cxn ang="0">
                <a:pos x="225" y="12"/>
              </a:cxn>
              <a:cxn ang="0">
                <a:pos x="232" y="9"/>
              </a:cxn>
              <a:cxn ang="0">
                <a:pos x="236" y="4"/>
              </a:cxn>
              <a:cxn ang="0">
                <a:pos x="244" y="2"/>
              </a:cxn>
              <a:cxn ang="0">
                <a:pos x="251" y="3"/>
              </a:cxn>
              <a:cxn ang="0">
                <a:pos x="264" y="1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25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6084889" y="3930650"/>
            <a:ext cx="293687" cy="300038"/>
          </a:xfrm>
          <a:custGeom>
            <a:avLst/>
            <a:gdLst/>
            <a:ahLst/>
            <a:cxnLst>
              <a:cxn ang="0">
                <a:pos x="513" y="8"/>
              </a:cxn>
              <a:cxn ang="0">
                <a:pos x="552" y="26"/>
              </a:cxn>
              <a:cxn ang="0">
                <a:pos x="645" y="63"/>
              </a:cxn>
              <a:cxn ang="0">
                <a:pos x="660" y="88"/>
              </a:cxn>
              <a:cxn ang="0">
                <a:pos x="678" y="94"/>
              </a:cxn>
              <a:cxn ang="0">
                <a:pos x="678" y="127"/>
              </a:cxn>
              <a:cxn ang="0">
                <a:pos x="677" y="144"/>
              </a:cxn>
              <a:cxn ang="0">
                <a:pos x="667" y="158"/>
              </a:cxn>
              <a:cxn ang="0">
                <a:pos x="647" y="178"/>
              </a:cxn>
              <a:cxn ang="0">
                <a:pos x="638" y="346"/>
              </a:cxn>
              <a:cxn ang="0">
                <a:pos x="461" y="388"/>
              </a:cxn>
              <a:cxn ang="0">
                <a:pos x="461" y="415"/>
              </a:cxn>
              <a:cxn ang="0">
                <a:pos x="455" y="435"/>
              </a:cxn>
              <a:cxn ang="0">
                <a:pos x="444" y="435"/>
              </a:cxn>
              <a:cxn ang="0">
                <a:pos x="434" y="440"/>
              </a:cxn>
              <a:cxn ang="0">
                <a:pos x="425" y="445"/>
              </a:cxn>
              <a:cxn ang="0">
                <a:pos x="414" y="447"/>
              </a:cxn>
              <a:cxn ang="0">
                <a:pos x="411" y="463"/>
              </a:cxn>
              <a:cxn ang="0">
                <a:pos x="410" y="474"/>
              </a:cxn>
              <a:cxn ang="0">
                <a:pos x="403" y="483"/>
              </a:cxn>
              <a:cxn ang="0">
                <a:pos x="365" y="498"/>
              </a:cxn>
              <a:cxn ang="0">
                <a:pos x="330" y="513"/>
              </a:cxn>
              <a:cxn ang="0">
                <a:pos x="313" y="525"/>
              </a:cxn>
              <a:cxn ang="0">
                <a:pos x="277" y="564"/>
              </a:cxn>
              <a:cxn ang="0">
                <a:pos x="258" y="573"/>
              </a:cxn>
              <a:cxn ang="0">
                <a:pos x="238" y="574"/>
              </a:cxn>
              <a:cxn ang="0">
                <a:pos x="193" y="574"/>
              </a:cxn>
              <a:cxn ang="0">
                <a:pos x="186" y="559"/>
              </a:cxn>
              <a:cxn ang="0">
                <a:pos x="165" y="547"/>
              </a:cxn>
              <a:cxn ang="0">
                <a:pos x="133" y="545"/>
              </a:cxn>
              <a:cxn ang="0">
                <a:pos x="93" y="556"/>
              </a:cxn>
              <a:cxn ang="0">
                <a:pos x="33" y="527"/>
              </a:cxn>
              <a:cxn ang="0">
                <a:pos x="0" y="285"/>
              </a:cxn>
              <a:cxn ang="0">
                <a:pos x="73" y="286"/>
              </a:cxn>
              <a:cxn ang="0">
                <a:pos x="103" y="282"/>
              </a:cxn>
              <a:cxn ang="0">
                <a:pos x="119" y="275"/>
              </a:cxn>
              <a:cxn ang="0">
                <a:pos x="129" y="256"/>
              </a:cxn>
              <a:cxn ang="0">
                <a:pos x="131" y="229"/>
              </a:cxn>
              <a:cxn ang="0">
                <a:pos x="126" y="185"/>
              </a:cxn>
              <a:cxn ang="0">
                <a:pos x="130" y="165"/>
              </a:cxn>
              <a:cxn ang="0">
                <a:pos x="140" y="171"/>
              </a:cxn>
              <a:cxn ang="0">
                <a:pos x="174" y="175"/>
              </a:cxn>
              <a:cxn ang="0">
                <a:pos x="188" y="186"/>
              </a:cxn>
              <a:cxn ang="0">
                <a:pos x="195" y="201"/>
              </a:cxn>
              <a:cxn ang="0">
                <a:pos x="208" y="210"/>
              </a:cxn>
              <a:cxn ang="0">
                <a:pos x="241" y="217"/>
              </a:cxn>
              <a:cxn ang="0">
                <a:pos x="269" y="214"/>
              </a:cxn>
              <a:cxn ang="0">
                <a:pos x="301" y="199"/>
              </a:cxn>
              <a:cxn ang="0">
                <a:pos x="319" y="196"/>
              </a:cxn>
              <a:cxn ang="0">
                <a:pos x="331" y="193"/>
              </a:cxn>
              <a:cxn ang="0">
                <a:pos x="343" y="190"/>
              </a:cxn>
              <a:cxn ang="0">
                <a:pos x="357" y="182"/>
              </a:cxn>
              <a:cxn ang="0">
                <a:pos x="368" y="168"/>
              </a:cxn>
              <a:cxn ang="0">
                <a:pos x="383" y="126"/>
              </a:cxn>
              <a:cxn ang="0">
                <a:pos x="403" y="47"/>
              </a:cxn>
              <a:cxn ang="0">
                <a:pos x="414" y="10"/>
              </a:cxn>
              <a:cxn ang="0">
                <a:pos x="431" y="6"/>
              </a:cxn>
              <a:cxn ang="0">
                <a:pos x="453" y="8"/>
              </a:cxn>
              <a:cxn ang="0">
                <a:pos x="482" y="1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26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5821364" y="4203700"/>
            <a:ext cx="350837" cy="381000"/>
          </a:xfrm>
          <a:custGeom>
            <a:avLst/>
            <a:gdLst/>
            <a:ahLst/>
            <a:cxnLst>
              <a:cxn ang="0">
                <a:pos x="797" y="42"/>
              </a:cxn>
              <a:cxn ang="0">
                <a:pos x="766" y="26"/>
              </a:cxn>
              <a:cxn ang="0">
                <a:pos x="718" y="33"/>
              </a:cxn>
              <a:cxn ang="0">
                <a:pos x="634" y="44"/>
              </a:cxn>
              <a:cxn ang="0">
                <a:pos x="604" y="55"/>
              </a:cxn>
              <a:cxn ang="0">
                <a:pos x="280" y="40"/>
              </a:cxn>
              <a:cxn ang="0">
                <a:pos x="232" y="37"/>
              </a:cxn>
              <a:cxn ang="0">
                <a:pos x="172" y="17"/>
              </a:cxn>
              <a:cxn ang="0">
                <a:pos x="116" y="0"/>
              </a:cxn>
              <a:cxn ang="0">
                <a:pos x="83" y="5"/>
              </a:cxn>
              <a:cxn ang="0">
                <a:pos x="53" y="24"/>
              </a:cxn>
              <a:cxn ang="0">
                <a:pos x="0" y="55"/>
              </a:cxn>
              <a:cxn ang="0">
                <a:pos x="7" y="68"/>
              </a:cxn>
              <a:cxn ang="0">
                <a:pos x="26" y="74"/>
              </a:cxn>
              <a:cxn ang="0">
                <a:pos x="36" y="129"/>
              </a:cxn>
              <a:cxn ang="0">
                <a:pos x="60" y="192"/>
              </a:cxn>
              <a:cxn ang="0">
                <a:pos x="109" y="276"/>
              </a:cxn>
              <a:cxn ang="0">
                <a:pos x="133" y="300"/>
              </a:cxn>
              <a:cxn ang="0">
                <a:pos x="159" y="302"/>
              </a:cxn>
              <a:cxn ang="0">
                <a:pos x="159" y="332"/>
              </a:cxn>
              <a:cxn ang="0">
                <a:pos x="152" y="359"/>
              </a:cxn>
              <a:cxn ang="0">
                <a:pos x="146" y="394"/>
              </a:cxn>
              <a:cxn ang="0">
                <a:pos x="150" y="425"/>
              </a:cxn>
              <a:cxn ang="0">
                <a:pos x="173" y="484"/>
              </a:cxn>
              <a:cxn ang="0">
                <a:pos x="179" y="518"/>
              </a:cxn>
              <a:cxn ang="0">
                <a:pos x="187" y="606"/>
              </a:cxn>
              <a:cxn ang="0">
                <a:pos x="204" y="647"/>
              </a:cxn>
              <a:cxn ang="0">
                <a:pos x="231" y="690"/>
              </a:cxn>
              <a:cxn ang="0">
                <a:pos x="245" y="700"/>
              </a:cxn>
              <a:cxn ang="0">
                <a:pos x="259" y="715"/>
              </a:cxn>
              <a:cxn ang="0">
                <a:pos x="265" y="678"/>
              </a:cxn>
              <a:cxn ang="0">
                <a:pos x="308" y="696"/>
              </a:cxn>
              <a:cxn ang="0">
                <a:pos x="328" y="713"/>
              </a:cxn>
              <a:cxn ang="0">
                <a:pos x="372" y="726"/>
              </a:cxn>
              <a:cxn ang="0">
                <a:pos x="407" y="723"/>
              </a:cxn>
              <a:cxn ang="0">
                <a:pos x="429" y="710"/>
              </a:cxn>
              <a:cxn ang="0">
                <a:pos x="452" y="675"/>
              </a:cxn>
              <a:cxn ang="0">
                <a:pos x="463" y="529"/>
              </a:cxn>
              <a:cxn ang="0">
                <a:pos x="465" y="480"/>
              </a:cxn>
              <a:cxn ang="0">
                <a:pos x="471" y="469"/>
              </a:cxn>
              <a:cxn ang="0">
                <a:pos x="463" y="426"/>
              </a:cxn>
              <a:cxn ang="0">
                <a:pos x="469" y="368"/>
              </a:cxn>
              <a:cxn ang="0">
                <a:pos x="500" y="330"/>
              </a:cxn>
              <a:cxn ang="0">
                <a:pos x="525" y="320"/>
              </a:cxn>
              <a:cxn ang="0">
                <a:pos x="538" y="232"/>
              </a:cxn>
              <a:cxn ang="0">
                <a:pos x="551" y="148"/>
              </a:cxn>
              <a:cxn ang="0">
                <a:pos x="541" y="124"/>
              </a:cxn>
              <a:cxn ang="0">
                <a:pos x="531" y="99"/>
              </a:cxn>
              <a:cxn ang="0">
                <a:pos x="539" y="86"/>
              </a:cxn>
              <a:cxn ang="0">
                <a:pos x="617" y="80"/>
              </a:cxn>
              <a:cxn ang="0">
                <a:pos x="708" y="63"/>
              </a:cxn>
              <a:cxn ang="0">
                <a:pos x="803" y="61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27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5100639" y="3133725"/>
            <a:ext cx="161925" cy="141288"/>
          </a:xfrm>
          <a:custGeom>
            <a:avLst/>
            <a:gdLst/>
            <a:ahLst/>
            <a:cxnLst>
              <a:cxn ang="0">
                <a:pos x="203" y="250"/>
              </a:cxn>
              <a:cxn ang="0">
                <a:pos x="163" y="246"/>
              </a:cxn>
              <a:cxn ang="0">
                <a:pos x="121" y="247"/>
              </a:cxn>
              <a:cxn ang="0">
                <a:pos x="92" y="250"/>
              </a:cxn>
              <a:cxn ang="0">
                <a:pos x="74" y="255"/>
              </a:cxn>
              <a:cxn ang="0">
                <a:pos x="26" y="271"/>
              </a:cxn>
              <a:cxn ang="0">
                <a:pos x="20" y="270"/>
              </a:cxn>
              <a:cxn ang="0">
                <a:pos x="17" y="266"/>
              </a:cxn>
              <a:cxn ang="0">
                <a:pos x="18" y="254"/>
              </a:cxn>
              <a:cxn ang="0">
                <a:pos x="26" y="228"/>
              </a:cxn>
              <a:cxn ang="0">
                <a:pos x="61" y="226"/>
              </a:cxn>
              <a:cxn ang="0">
                <a:pos x="89" y="222"/>
              </a:cxn>
              <a:cxn ang="0">
                <a:pos x="115" y="218"/>
              </a:cxn>
              <a:cxn ang="0">
                <a:pos x="146" y="216"/>
              </a:cxn>
              <a:cxn ang="0">
                <a:pos x="182" y="218"/>
              </a:cxn>
              <a:cxn ang="0">
                <a:pos x="199" y="218"/>
              </a:cxn>
              <a:cxn ang="0">
                <a:pos x="219" y="216"/>
              </a:cxn>
              <a:cxn ang="0">
                <a:pos x="215" y="208"/>
              </a:cxn>
              <a:cxn ang="0">
                <a:pos x="210" y="201"/>
              </a:cxn>
              <a:cxn ang="0">
                <a:pos x="195" y="194"/>
              </a:cxn>
              <a:cxn ang="0">
                <a:pos x="175" y="191"/>
              </a:cxn>
              <a:cxn ang="0">
                <a:pos x="152" y="190"/>
              </a:cxn>
              <a:cxn ang="0">
                <a:pos x="93" y="192"/>
              </a:cxn>
              <a:cxn ang="0">
                <a:pos x="64" y="196"/>
              </a:cxn>
              <a:cxn ang="0">
                <a:pos x="33" y="203"/>
              </a:cxn>
              <a:cxn ang="0">
                <a:pos x="38" y="183"/>
              </a:cxn>
              <a:cxn ang="0">
                <a:pos x="39" y="172"/>
              </a:cxn>
              <a:cxn ang="0">
                <a:pos x="26" y="164"/>
              </a:cxn>
              <a:cxn ang="0">
                <a:pos x="13" y="160"/>
              </a:cxn>
              <a:cxn ang="0">
                <a:pos x="11" y="147"/>
              </a:cxn>
              <a:cxn ang="0">
                <a:pos x="6" y="143"/>
              </a:cxn>
              <a:cxn ang="0">
                <a:pos x="2" y="141"/>
              </a:cxn>
              <a:cxn ang="0">
                <a:pos x="0" y="135"/>
              </a:cxn>
              <a:cxn ang="0">
                <a:pos x="5" y="115"/>
              </a:cxn>
              <a:cxn ang="0">
                <a:pos x="17" y="92"/>
              </a:cxn>
              <a:cxn ang="0">
                <a:pos x="30" y="69"/>
              </a:cxn>
              <a:cxn ang="0">
                <a:pos x="39" y="49"/>
              </a:cxn>
              <a:cxn ang="0">
                <a:pos x="48" y="42"/>
              </a:cxn>
              <a:cxn ang="0">
                <a:pos x="49" y="48"/>
              </a:cxn>
              <a:cxn ang="0">
                <a:pos x="52" y="36"/>
              </a:cxn>
              <a:cxn ang="0">
                <a:pos x="75" y="31"/>
              </a:cxn>
              <a:cxn ang="0">
                <a:pos x="114" y="18"/>
              </a:cxn>
              <a:cxn ang="0">
                <a:pos x="165" y="0"/>
              </a:cxn>
              <a:cxn ang="0">
                <a:pos x="184" y="15"/>
              </a:cxn>
              <a:cxn ang="0">
                <a:pos x="202" y="24"/>
              </a:cxn>
              <a:cxn ang="0">
                <a:pos x="220" y="29"/>
              </a:cxn>
              <a:cxn ang="0">
                <a:pos x="239" y="30"/>
              </a:cxn>
              <a:cxn ang="0">
                <a:pos x="241" y="52"/>
              </a:cxn>
              <a:cxn ang="0">
                <a:pos x="247" y="69"/>
              </a:cxn>
              <a:cxn ang="0">
                <a:pos x="254" y="84"/>
              </a:cxn>
              <a:cxn ang="0">
                <a:pos x="264" y="95"/>
              </a:cxn>
              <a:cxn ang="0">
                <a:pos x="305" y="129"/>
              </a:cxn>
              <a:cxn ang="0">
                <a:pos x="352" y="234"/>
              </a:cxn>
              <a:cxn ang="0">
                <a:pos x="359" y="257"/>
              </a:cxn>
              <a:cxn ang="0">
                <a:pos x="365" y="271"/>
              </a:cxn>
              <a:cxn ang="0">
                <a:pos x="321" y="259"/>
              </a:cxn>
              <a:cxn ang="0">
                <a:pos x="275" y="252"/>
              </a:cxn>
              <a:cxn ang="0">
                <a:pos x="248" y="251"/>
              </a:cxn>
              <a:cxn ang="0">
                <a:pos x="219" y="252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28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6273801" y="3695701"/>
            <a:ext cx="269875" cy="334963"/>
          </a:xfrm>
          <a:custGeom>
            <a:avLst/>
            <a:gdLst/>
            <a:ahLst/>
            <a:cxnLst>
              <a:cxn ang="0">
                <a:pos x="146" y="12"/>
              </a:cxn>
              <a:cxn ang="0">
                <a:pos x="239" y="12"/>
              </a:cxn>
              <a:cxn ang="0">
                <a:pos x="287" y="5"/>
              </a:cxn>
              <a:cxn ang="0">
                <a:pos x="326" y="22"/>
              </a:cxn>
              <a:cxn ang="0">
                <a:pos x="396" y="66"/>
              </a:cxn>
              <a:cxn ang="0">
                <a:pos x="465" y="111"/>
              </a:cxn>
              <a:cxn ang="0">
                <a:pos x="469" y="131"/>
              </a:cxn>
              <a:cxn ang="0">
                <a:pos x="480" y="153"/>
              </a:cxn>
              <a:cxn ang="0">
                <a:pos x="497" y="170"/>
              </a:cxn>
              <a:cxn ang="0">
                <a:pos x="519" y="183"/>
              </a:cxn>
              <a:cxn ang="0">
                <a:pos x="543" y="190"/>
              </a:cxn>
              <a:cxn ang="0">
                <a:pos x="554" y="195"/>
              </a:cxn>
              <a:cxn ang="0">
                <a:pos x="565" y="205"/>
              </a:cxn>
              <a:cxn ang="0">
                <a:pos x="561" y="227"/>
              </a:cxn>
              <a:cxn ang="0">
                <a:pos x="537" y="252"/>
              </a:cxn>
              <a:cxn ang="0">
                <a:pos x="525" y="271"/>
              </a:cxn>
              <a:cxn ang="0">
                <a:pos x="533" y="287"/>
              </a:cxn>
              <a:cxn ang="0">
                <a:pos x="547" y="299"/>
              </a:cxn>
              <a:cxn ang="0">
                <a:pos x="552" y="425"/>
              </a:cxn>
              <a:cxn ang="0">
                <a:pos x="550" y="439"/>
              </a:cxn>
              <a:cxn ang="0">
                <a:pos x="558" y="462"/>
              </a:cxn>
              <a:cxn ang="0">
                <a:pos x="558" y="489"/>
              </a:cxn>
              <a:cxn ang="0">
                <a:pos x="561" y="515"/>
              </a:cxn>
              <a:cxn ang="0">
                <a:pos x="594" y="549"/>
              </a:cxn>
              <a:cxn ang="0">
                <a:pos x="616" y="579"/>
              </a:cxn>
              <a:cxn ang="0">
                <a:pos x="575" y="600"/>
              </a:cxn>
              <a:cxn ang="0">
                <a:pos x="491" y="631"/>
              </a:cxn>
              <a:cxn ang="0">
                <a:pos x="443" y="638"/>
              </a:cxn>
              <a:cxn ang="0">
                <a:pos x="392" y="628"/>
              </a:cxn>
              <a:cxn ang="0">
                <a:pos x="339" y="633"/>
              </a:cxn>
              <a:cxn ang="0">
                <a:pos x="306" y="628"/>
              </a:cxn>
              <a:cxn ang="0">
                <a:pos x="299" y="614"/>
              </a:cxn>
              <a:cxn ang="0">
                <a:pos x="294" y="573"/>
              </a:cxn>
              <a:cxn ang="0">
                <a:pos x="288" y="529"/>
              </a:cxn>
              <a:cxn ang="0">
                <a:pos x="253" y="517"/>
              </a:cxn>
              <a:cxn ang="0">
                <a:pos x="185" y="502"/>
              </a:cxn>
              <a:cxn ang="0">
                <a:pos x="90" y="459"/>
              </a:cxn>
              <a:cxn ang="0">
                <a:pos x="68" y="446"/>
              </a:cxn>
              <a:cxn ang="0">
                <a:pos x="66" y="428"/>
              </a:cxn>
              <a:cxn ang="0">
                <a:pos x="65" y="402"/>
              </a:cxn>
              <a:cxn ang="0">
                <a:pos x="53" y="377"/>
              </a:cxn>
              <a:cxn ang="0">
                <a:pos x="41" y="357"/>
              </a:cxn>
              <a:cxn ang="0">
                <a:pos x="27" y="347"/>
              </a:cxn>
              <a:cxn ang="0">
                <a:pos x="12" y="332"/>
              </a:cxn>
              <a:cxn ang="0">
                <a:pos x="5" y="308"/>
              </a:cxn>
              <a:cxn ang="0">
                <a:pos x="0" y="262"/>
              </a:cxn>
              <a:cxn ang="0">
                <a:pos x="0" y="234"/>
              </a:cxn>
              <a:cxn ang="0">
                <a:pos x="10" y="212"/>
              </a:cxn>
              <a:cxn ang="0">
                <a:pos x="38" y="195"/>
              </a:cxn>
              <a:cxn ang="0">
                <a:pos x="61" y="173"/>
              </a:cxn>
              <a:cxn ang="0">
                <a:pos x="77" y="77"/>
              </a:cxn>
              <a:cxn ang="0">
                <a:pos x="84" y="43"/>
              </a:cxn>
              <a:cxn ang="0">
                <a:pos x="82" y="8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29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8837613" y="2209800"/>
            <a:ext cx="19050" cy="57150"/>
          </a:xfrm>
          <a:custGeom>
            <a:avLst/>
            <a:gdLst/>
            <a:ahLst/>
            <a:cxnLst>
              <a:cxn ang="0">
                <a:pos x="13" y="50"/>
              </a:cxn>
              <a:cxn ang="0">
                <a:pos x="0" y="32"/>
              </a:cxn>
              <a:cxn ang="0">
                <a:pos x="2" y="25"/>
              </a:cxn>
              <a:cxn ang="0">
                <a:pos x="6" y="18"/>
              </a:cxn>
              <a:cxn ang="0">
                <a:pos x="12" y="13"/>
              </a:cxn>
              <a:cxn ang="0">
                <a:pos x="18" y="9"/>
              </a:cxn>
              <a:cxn ang="0">
                <a:pos x="26" y="5"/>
              </a:cxn>
              <a:cxn ang="0">
                <a:pos x="34" y="3"/>
              </a:cxn>
              <a:cxn ang="0">
                <a:pos x="43" y="1"/>
              </a:cxn>
              <a:cxn ang="0">
                <a:pos x="52" y="0"/>
              </a:cxn>
              <a:cxn ang="0">
                <a:pos x="40" y="11"/>
              </a:cxn>
              <a:cxn ang="0">
                <a:pos x="27" y="22"/>
              </a:cxn>
              <a:cxn ang="0">
                <a:pos x="22" y="30"/>
              </a:cxn>
              <a:cxn ang="0">
                <a:pos x="17" y="36"/>
              </a:cxn>
              <a:cxn ang="0">
                <a:pos x="14" y="43"/>
              </a:cxn>
              <a:cxn ang="0">
                <a:pos x="13" y="50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30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8696325" y="2211388"/>
            <a:ext cx="141288" cy="125412"/>
          </a:xfrm>
          <a:custGeom>
            <a:avLst/>
            <a:gdLst/>
            <a:ahLst/>
            <a:cxnLst>
              <a:cxn ang="0">
                <a:pos x="76" y="231"/>
              </a:cxn>
              <a:cxn ang="0">
                <a:pos x="61" y="226"/>
              </a:cxn>
              <a:cxn ang="0">
                <a:pos x="66" y="222"/>
              </a:cxn>
              <a:cxn ang="0">
                <a:pos x="77" y="217"/>
              </a:cxn>
              <a:cxn ang="0">
                <a:pos x="64" y="204"/>
              </a:cxn>
              <a:cxn ang="0">
                <a:pos x="43" y="189"/>
              </a:cxn>
              <a:cxn ang="0">
                <a:pos x="36" y="179"/>
              </a:cxn>
              <a:cxn ang="0">
                <a:pos x="34" y="171"/>
              </a:cxn>
              <a:cxn ang="0">
                <a:pos x="34" y="164"/>
              </a:cxn>
              <a:cxn ang="0">
                <a:pos x="36" y="157"/>
              </a:cxn>
              <a:cxn ang="0">
                <a:pos x="43" y="149"/>
              </a:cxn>
              <a:cxn ang="0">
                <a:pos x="56" y="141"/>
              </a:cxn>
              <a:cxn ang="0">
                <a:pos x="73" y="137"/>
              </a:cxn>
              <a:cxn ang="0">
                <a:pos x="80" y="126"/>
              </a:cxn>
              <a:cxn ang="0">
                <a:pos x="67" y="111"/>
              </a:cxn>
              <a:cxn ang="0">
                <a:pos x="61" y="102"/>
              </a:cxn>
              <a:cxn ang="0">
                <a:pos x="60" y="86"/>
              </a:cxn>
              <a:cxn ang="0">
                <a:pos x="55" y="70"/>
              </a:cxn>
              <a:cxn ang="0">
                <a:pos x="46" y="46"/>
              </a:cxn>
              <a:cxn ang="0">
                <a:pos x="33" y="31"/>
              </a:cxn>
              <a:cxn ang="0">
                <a:pos x="20" y="25"/>
              </a:cxn>
              <a:cxn ang="0">
                <a:pos x="7" y="10"/>
              </a:cxn>
              <a:cxn ang="0">
                <a:pos x="9" y="0"/>
              </a:cxn>
              <a:cxn ang="0">
                <a:pos x="24" y="0"/>
              </a:cxn>
              <a:cxn ang="0">
                <a:pos x="38" y="3"/>
              </a:cxn>
              <a:cxn ang="0">
                <a:pos x="56" y="16"/>
              </a:cxn>
              <a:cxn ang="0">
                <a:pos x="78" y="35"/>
              </a:cxn>
              <a:cxn ang="0">
                <a:pos x="96" y="48"/>
              </a:cxn>
              <a:cxn ang="0">
                <a:pos x="119" y="58"/>
              </a:cxn>
              <a:cxn ang="0">
                <a:pos x="152" y="70"/>
              </a:cxn>
              <a:cxn ang="0">
                <a:pos x="181" y="79"/>
              </a:cxn>
              <a:cxn ang="0">
                <a:pos x="214" y="85"/>
              </a:cxn>
              <a:cxn ang="0">
                <a:pos x="236" y="77"/>
              </a:cxn>
              <a:cxn ang="0">
                <a:pos x="257" y="83"/>
              </a:cxn>
              <a:cxn ang="0">
                <a:pos x="284" y="107"/>
              </a:cxn>
              <a:cxn ang="0">
                <a:pos x="305" y="119"/>
              </a:cxn>
              <a:cxn ang="0">
                <a:pos x="297" y="133"/>
              </a:cxn>
              <a:cxn ang="0">
                <a:pos x="268" y="144"/>
              </a:cxn>
              <a:cxn ang="0">
                <a:pos x="249" y="148"/>
              </a:cxn>
              <a:cxn ang="0">
                <a:pos x="237" y="159"/>
              </a:cxn>
              <a:cxn ang="0">
                <a:pos x="232" y="176"/>
              </a:cxn>
              <a:cxn ang="0">
                <a:pos x="231" y="187"/>
              </a:cxn>
              <a:cxn ang="0">
                <a:pos x="222" y="192"/>
              </a:cxn>
              <a:cxn ang="0">
                <a:pos x="204" y="189"/>
              </a:cxn>
              <a:cxn ang="0">
                <a:pos x="186" y="181"/>
              </a:cxn>
              <a:cxn ang="0">
                <a:pos x="168" y="170"/>
              </a:cxn>
              <a:cxn ang="0">
                <a:pos x="155" y="164"/>
              </a:cxn>
              <a:cxn ang="0">
                <a:pos x="145" y="161"/>
              </a:cxn>
              <a:cxn ang="0">
                <a:pos x="131" y="162"/>
              </a:cxn>
              <a:cxn ang="0">
                <a:pos x="114" y="167"/>
              </a:cxn>
              <a:cxn ang="0">
                <a:pos x="100" y="173"/>
              </a:cxn>
              <a:cxn ang="0">
                <a:pos x="87" y="178"/>
              </a:cxn>
              <a:cxn ang="0">
                <a:pos x="85" y="183"/>
              </a:cxn>
              <a:cxn ang="0">
                <a:pos x="96" y="191"/>
              </a:cxn>
              <a:cxn ang="0">
                <a:pos x="116" y="200"/>
              </a:cxn>
              <a:cxn ang="0">
                <a:pos x="126" y="212"/>
              </a:cxn>
              <a:cxn ang="0">
                <a:pos x="113" y="224"/>
              </a:cxn>
              <a:cxn ang="0">
                <a:pos x="102" y="231"/>
              </a:cxn>
              <a:cxn ang="0">
                <a:pos x="91" y="234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31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8666164" y="2565400"/>
            <a:ext cx="52387" cy="57150"/>
          </a:xfrm>
          <a:custGeom>
            <a:avLst/>
            <a:gdLst/>
            <a:ahLst/>
            <a:cxnLst>
              <a:cxn ang="0">
                <a:pos x="33" y="19"/>
              </a:cxn>
              <a:cxn ang="0">
                <a:pos x="43" y="19"/>
              </a:cxn>
              <a:cxn ang="0">
                <a:pos x="52" y="19"/>
              </a:cxn>
              <a:cxn ang="0">
                <a:pos x="55" y="19"/>
              </a:cxn>
              <a:cxn ang="0">
                <a:pos x="58" y="17"/>
              </a:cxn>
              <a:cxn ang="0">
                <a:pos x="61" y="15"/>
              </a:cxn>
              <a:cxn ang="0">
                <a:pos x="65" y="11"/>
              </a:cxn>
              <a:cxn ang="0">
                <a:pos x="68" y="8"/>
              </a:cxn>
              <a:cxn ang="0">
                <a:pos x="70" y="5"/>
              </a:cxn>
              <a:cxn ang="0">
                <a:pos x="72" y="3"/>
              </a:cxn>
              <a:cxn ang="0">
                <a:pos x="72" y="0"/>
              </a:cxn>
              <a:cxn ang="0">
                <a:pos x="118" y="0"/>
              </a:cxn>
              <a:cxn ang="0">
                <a:pos x="122" y="15"/>
              </a:cxn>
              <a:cxn ang="0">
                <a:pos x="125" y="25"/>
              </a:cxn>
              <a:cxn ang="0">
                <a:pos x="124" y="29"/>
              </a:cxn>
              <a:cxn ang="0">
                <a:pos x="122" y="33"/>
              </a:cxn>
              <a:cxn ang="0">
                <a:pos x="119" y="35"/>
              </a:cxn>
              <a:cxn ang="0">
                <a:pos x="117" y="37"/>
              </a:cxn>
              <a:cxn ang="0">
                <a:pos x="111" y="40"/>
              </a:cxn>
              <a:cxn ang="0">
                <a:pos x="104" y="41"/>
              </a:cxn>
              <a:cxn ang="0">
                <a:pos x="88" y="41"/>
              </a:cxn>
              <a:cxn ang="0">
                <a:pos x="72" y="43"/>
              </a:cxn>
              <a:cxn ang="0">
                <a:pos x="70" y="47"/>
              </a:cxn>
              <a:cxn ang="0">
                <a:pos x="69" y="53"/>
              </a:cxn>
              <a:cxn ang="0">
                <a:pos x="67" y="61"/>
              </a:cxn>
              <a:cxn ang="0">
                <a:pos x="67" y="71"/>
              </a:cxn>
              <a:cxn ang="0">
                <a:pos x="66" y="86"/>
              </a:cxn>
              <a:cxn ang="0">
                <a:pos x="66" y="93"/>
              </a:cxn>
              <a:cxn ang="0">
                <a:pos x="49" y="85"/>
              </a:cxn>
              <a:cxn ang="0">
                <a:pos x="27" y="73"/>
              </a:cxn>
              <a:cxn ang="0">
                <a:pos x="16" y="65"/>
              </a:cxn>
              <a:cxn ang="0">
                <a:pos x="7" y="58"/>
              </a:cxn>
              <a:cxn ang="0">
                <a:pos x="4" y="54"/>
              </a:cxn>
              <a:cxn ang="0">
                <a:pos x="2" y="50"/>
              </a:cxn>
              <a:cxn ang="0">
                <a:pos x="0" y="47"/>
              </a:cxn>
              <a:cxn ang="0">
                <a:pos x="0" y="43"/>
              </a:cxn>
              <a:cxn ang="0">
                <a:pos x="7" y="43"/>
              </a:cxn>
              <a:cxn ang="0">
                <a:pos x="15" y="41"/>
              </a:cxn>
              <a:cxn ang="0">
                <a:pos x="20" y="39"/>
              </a:cxn>
              <a:cxn ang="0">
                <a:pos x="23" y="36"/>
              </a:cxn>
              <a:cxn ang="0">
                <a:pos x="28" y="28"/>
              </a:cxn>
              <a:cxn ang="0">
                <a:pos x="33" y="19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32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8612189" y="2579689"/>
            <a:ext cx="60325" cy="84137"/>
          </a:xfrm>
          <a:custGeom>
            <a:avLst/>
            <a:gdLst/>
            <a:ahLst/>
            <a:cxnLst>
              <a:cxn ang="0">
                <a:pos x="20" y="12"/>
              </a:cxn>
              <a:cxn ang="0">
                <a:pos x="24" y="10"/>
              </a:cxn>
              <a:cxn ang="0">
                <a:pos x="31" y="6"/>
              </a:cxn>
              <a:cxn ang="0">
                <a:pos x="34" y="4"/>
              </a:cxn>
              <a:cxn ang="0">
                <a:pos x="37" y="2"/>
              </a:cxn>
              <a:cxn ang="0">
                <a:pos x="42" y="1"/>
              </a:cxn>
              <a:cxn ang="0">
                <a:pos x="46" y="0"/>
              </a:cxn>
              <a:cxn ang="0">
                <a:pos x="59" y="1"/>
              </a:cxn>
              <a:cxn ang="0">
                <a:pos x="70" y="4"/>
              </a:cxn>
              <a:cxn ang="0">
                <a:pos x="81" y="8"/>
              </a:cxn>
              <a:cxn ang="0">
                <a:pos x="90" y="14"/>
              </a:cxn>
              <a:cxn ang="0">
                <a:pos x="99" y="21"/>
              </a:cxn>
              <a:cxn ang="0">
                <a:pos x="105" y="30"/>
              </a:cxn>
              <a:cxn ang="0">
                <a:pos x="112" y="40"/>
              </a:cxn>
              <a:cxn ang="0">
                <a:pos x="116" y="50"/>
              </a:cxn>
              <a:cxn ang="0">
                <a:pos x="121" y="60"/>
              </a:cxn>
              <a:cxn ang="0">
                <a:pos x="124" y="71"/>
              </a:cxn>
              <a:cxn ang="0">
                <a:pos x="127" y="82"/>
              </a:cxn>
              <a:cxn ang="0">
                <a:pos x="130" y="94"/>
              </a:cxn>
              <a:cxn ang="0">
                <a:pos x="132" y="116"/>
              </a:cxn>
              <a:cxn ang="0">
                <a:pos x="133" y="135"/>
              </a:cxn>
              <a:cxn ang="0">
                <a:pos x="132" y="138"/>
              </a:cxn>
              <a:cxn ang="0">
                <a:pos x="130" y="141"/>
              </a:cxn>
              <a:cxn ang="0">
                <a:pos x="125" y="144"/>
              </a:cxn>
              <a:cxn ang="0">
                <a:pos x="121" y="147"/>
              </a:cxn>
              <a:cxn ang="0">
                <a:pos x="115" y="150"/>
              </a:cxn>
              <a:cxn ang="0">
                <a:pos x="110" y="153"/>
              </a:cxn>
              <a:cxn ang="0">
                <a:pos x="104" y="154"/>
              </a:cxn>
              <a:cxn ang="0">
                <a:pos x="99" y="154"/>
              </a:cxn>
              <a:cxn ang="0">
                <a:pos x="93" y="153"/>
              </a:cxn>
              <a:cxn ang="0">
                <a:pos x="87" y="149"/>
              </a:cxn>
              <a:cxn ang="0">
                <a:pos x="79" y="141"/>
              </a:cxn>
              <a:cxn ang="0">
                <a:pos x="71" y="134"/>
              </a:cxn>
              <a:cxn ang="0">
                <a:pos x="64" y="126"/>
              </a:cxn>
              <a:cxn ang="0">
                <a:pos x="58" y="118"/>
              </a:cxn>
              <a:cxn ang="0">
                <a:pos x="54" y="111"/>
              </a:cxn>
              <a:cxn ang="0">
                <a:pos x="53" y="105"/>
              </a:cxn>
              <a:cxn ang="0">
                <a:pos x="54" y="98"/>
              </a:cxn>
              <a:cxn ang="0">
                <a:pos x="56" y="83"/>
              </a:cxn>
              <a:cxn ang="0">
                <a:pos x="58" y="68"/>
              </a:cxn>
              <a:cxn ang="0">
                <a:pos x="59" y="62"/>
              </a:cxn>
              <a:cxn ang="0">
                <a:pos x="47" y="61"/>
              </a:cxn>
              <a:cxn ang="0">
                <a:pos x="36" y="59"/>
              </a:cxn>
              <a:cxn ang="0">
                <a:pos x="25" y="56"/>
              </a:cxn>
              <a:cxn ang="0">
                <a:pos x="17" y="52"/>
              </a:cxn>
              <a:cxn ang="0">
                <a:pos x="13" y="49"/>
              </a:cxn>
              <a:cxn ang="0">
                <a:pos x="10" y="46"/>
              </a:cxn>
              <a:cxn ang="0">
                <a:pos x="7" y="43"/>
              </a:cxn>
              <a:cxn ang="0">
                <a:pos x="4" y="39"/>
              </a:cxn>
              <a:cxn ang="0">
                <a:pos x="2" y="34"/>
              </a:cxn>
              <a:cxn ang="0">
                <a:pos x="1" y="29"/>
              </a:cxn>
              <a:cxn ang="0">
                <a:pos x="0" y="24"/>
              </a:cxn>
              <a:cxn ang="0">
                <a:pos x="0" y="18"/>
              </a:cxn>
              <a:cxn ang="0">
                <a:pos x="7" y="15"/>
              </a:cxn>
              <a:cxn ang="0">
                <a:pos x="20" y="12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33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8628063" y="2341564"/>
            <a:ext cx="209550" cy="244475"/>
          </a:xfrm>
          <a:custGeom>
            <a:avLst/>
            <a:gdLst/>
            <a:ahLst/>
            <a:cxnLst>
              <a:cxn ang="0">
                <a:pos x="134" y="351"/>
              </a:cxn>
              <a:cxn ang="0">
                <a:pos x="167" y="339"/>
              </a:cxn>
              <a:cxn ang="0">
                <a:pos x="200" y="339"/>
              </a:cxn>
              <a:cxn ang="0">
                <a:pos x="226" y="348"/>
              </a:cxn>
              <a:cxn ang="0">
                <a:pos x="224" y="327"/>
              </a:cxn>
              <a:cxn ang="0">
                <a:pos x="220" y="316"/>
              </a:cxn>
              <a:cxn ang="0">
                <a:pos x="233" y="303"/>
              </a:cxn>
              <a:cxn ang="0">
                <a:pos x="239" y="276"/>
              </a:cxn>
              <a:cxn ang="0">
                <a:pos x="242" y="246"/>
              </a:cxn>
              <a:cxn ang="0">
                <a:pos x="268" y="255"/>
              </a:cxn>
              <a:cxn ang="0">
                <a:pos x="300" y="238"/>
              </a:cxn>
              <a:cxn ang="0">
                <a:pos x="316" y="217"/>
              </a:cxn>
              <a:cxn ang="0">
                <a:pos x="293" y="194"/>
              </a:cxn>
              <a:cxn ang="0">
                <a:pos x="318" y="199"/>
              </a:cxn>
              <a:cxn ang="0">
                <a:pos x="343" y="202"/>
              </a:cxn>
              <a:cxn ang="0">
                <a:pos x="346" y="185"/>
              </a:cxn>
              <a:cxn ang="0">
                <a:pos x="295" y="96"/>
              </a:cxn>
              <a:cxn ang="0">
                <a:pos x="285" y="53"/>
              </a:cxn>
              <a:cxn ang="0">
                <a:pos x="291" y="19"/>
              </a:cxn>
              <a:cxn ang="0">
                <a:pos x="316" y="1"/>
              </a:cxn>
              <a:cxn ang="0">
                <a:pos x="336" y="18"/>
              </a:cxn>
              <a:cxn ang="0">
                <a:pos x="377" y="45"/>
              </a:cxn>
              <a:cxn ang="0">
                <a:pos x="415" y="72"/>
              </a:cxn>
              <a:cxn ang="0">
                <a:pos x="426" y="98"/>
              </a:cxn>
              <a:cxn ang="0">
                <a:pos x="436" y="137"/>
              </a:cxn>
              <a:cxn ang="0">
                <a:pos x="445" y="173"/>
              </a:cxn>
              <a:cxn ang="0">
                <a:pos x="428" y="179"/>
              </a:cxn>
              <a:cxn ang="0">
                <a:pos x="412" y="185"/>
              </a:cxn>
              <a:cxn ang="0">
                <a:pos x="426" y="199"/>
              </a:cxn>
              <a:cxn ang="0">
                <a:pos x="445" y="203"/>
              </a:cxn>
              <a:cxn ang="0">
                <a:pos x="455" y="262"/>
              </a:cxn>
              <a:cxn ang="0">
                <a:pos x="475" y="312"/>
              </a:cxn>
              <a:cxn ang="0">
                <a:pos x="480" y="381"/>
              </a:cxn>
              <a:cxn ang="0">
                <a:pos x="463" y="364"/>
              </a:cxn>
              <a:cxn ang="0">
                <a:pos x="453" y="356"/>
              </a:cxn>
              <a:cxn ang="0">
                <a:pos x="436" y="363"/>
              </a:cxn>
              <a:cxn ang="0">
                <a:pos x="429" y="399"/>
              </a:cxn>
              <a:cxn ang="0">
                <a:pos x="408" y="389"/>
              </a:cxn>
              <a:cxn ang="0">
                <a:pos x="389" y="382"/>
              </a:cxn>
              <a:cxn ang="0">
                <a:pos x="376" y="402"/>
              </a:cxn>
              <a:cxn ang="0">
                <a:pos x="345" y="413"/>
              </a:cxn>
              <a:cxn ang="0">
                <a:pos x="334" y="400"/>
              </a:cxn>
              <a:cxn ang="0">
                <a:pos x="312" y="395"/>
              </a:cxn>
              <a:cxn ang="0">
                <a:pos x="303" y="426"/>
              </a:cxn>
              <a:cxn ang="0">
                <a:pos x="299" y="450"/>
              </a:cxn>
              <a:cxn ang="0">
                <a:pos x="307" y="466"/>
              </a:cxn>
              <a:cxn ang="0">
                <a:pos x="272" y="468"/>
              </a:cxn>
              <a:cxn ang="0">
                <a:pos x="258" y="465"/>
              </a:cxn>
              <a:cxn ang="0">
                <a:pos x="244" y="440"/>
              </a:cxn>
              <a:cxn ang="0">
                <a:pos x="229" y="418"/>
              </a:cxn>
              <a:cxn ang="0">
                <a:pos x="204" y="406"/>
              </a:cxn>
              <a:cxn ang="0">
                <a:pos x="190" y="394"/>
              </a:cxn>
              <a:cxn ang="0">
                <a:pos x="136" y="417"/>
              </a:cxn>
              <a:cxn ang="0">
                <a:pos x="90" y="435"/>
              </a:cxn>
              <a:cxn ang="0">
                <a:pos x="65" y="459"/>
              </a:cxn>
              <a:cxn ang="0">
                <a:pos x="27" y="461"/>
              </a:cxn>
              <a:cxn ang="0">
                <a:pos x="7" y="438"/>
              </a:cxn>
              <a:cxn ang="0">
                <a:pos x="0" y="417"/>
              </a:cxn>
              <a:cxn ang="0">
                <a:pos x="7" y="413"/>
              </a:cxn>
              <a:cxn ang="0">
                <a:pos x="27" y="414"/>
              </a:cxn>
              <a:cxn ang="0">
                <a:pos x="48" y="405"/>
              </a:cxn>
              <a:cxn ang="0">
                <a:pos x="72" y="369"/>
              </a:cxn>
              <a:cxn ang="0">
                <a:pos x="93" y="352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34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6211888" y="1231901"/>
            <a:ext cx="107950" cy="60325"/>
          </a:xfrm>
          <a:custGeom>
            <a:avLst/>
            <a:gdLst/>
            <a:ahLst/>
            <a:cxnLst>
              <a:cxn ang="0">
                <a:pos x="27" y="36"/>
              </a:cxn>
              <a:cxn ang="0">
                <a:pos x="36" y="36"/>
              </a:cxn>
              <a:cxn ang="0">
                <a:pos x="45" y="35"/>
              </a:cxn>
              <a:cxn ang="0">
                <a:pos x="53" y="33"/>
              </a:cxn>
              <a:cxn ang="0">
                <a:pos x="59" y="31"/>
              </a:cxn>
              <a:cxn ang="0">
                <a:pos x="66" y="30"/>
              </a:cxn>
              <a:cxn ang="0">
                <a:pos x="72" y="29"/>
              </a:cxn>
              <a:cxn ang="0">
                <a:pos x="80" y="29"/>
              </a:cxn>
              <a:cxn ang="0">
                <a:pos x="87" y="30"/>
              </a:cxn>
              <a:cxn ang="0">
                <a:pos x="87" y="42"/>
              </a:cxn>
              <a:cxn ang="0">
                <a:pos x="154" y="42"/>
              </a:cxn>
              <a:cxn ang="0">
                <a:pos x="154" y="39"/>
              </a:cxn>
              <a:cxn ang="0">
                <a:pos x="156" y="36"/>
              </a:cxn>
              <a:cxn ang="0">
                <a:pos x="159" y="33"/>
              </a:cxn>
              <a:cxn ang="0">
                <a:pos x="163" y="31"/>
              </a:cxn>
              <a:cxn ang="0">
                <a:pos x="175" y="26"/>
              </a:cxn>
              <a:cxn ang="0">
                <a:pos x="190" y="23"/>
              </a:cxn>
              <a:cxn ang="0">
                <a:pos x="221" y="17"/>
              </a:cxn>
              <a:cxn ang="0">
                <a:pos x="246" y="12"/>
              </a:cxn>
              <a:cxn ang="0">
                <a:pos x="212" y="13"/>
              </a:cxn>
              <a:cxn ang="0">
                <a:pos x="186" y="14"/>
              </a:cxn>
              <a:cxn ang="0">
                <a:pos x="178" y="15"/>
              </a:cxn>
              <a:cxn ang="0">
                <a:pos x="171" y="15"/>
              </a:cxn>
              <a:cxn ang="0">
                <a:pos x="168" y="14"/>
              </a:cxn>
              <a:cxn ang="0">
                <a:pos x="167" y="12"/>
              </a:cxn>
              <a:cxn ang="0">
                <a:pos x="159" y="16"/>
              </a:cxn>
              <a:cxn ang="0">
                <a:pos x="152" y="17"/>
              </a:cxn>
              <a:cxn ang="0">
                <a:pos x="147" y="17"/>
              </a:cxn>
              <a:cxn ang="0">
                <a:pos x="141" y="15"/>
              </a:cxn>
              <a:cxn ang="0">
                <a:pos x="137" y="12"/>
              </a:cxn>
              <a:cxn ang="0">
                <a:pos x="133" y="9"/>
              </a:cxn>
              <a:cxn ang="0">
                <a:pos x="129" y="5"/>
              </a:cxn>
              <a:cxn ang="0">
                <a:pos x="126" y="0"/>
              </a:cxn>
              <a:cxn ang="0">
                <a:pos x="121" y="2"/>
              </a:cxn>
              <a:cxn ang="0">
                <a:pos x="113" y="4"/>
              </a:cxn>
              <a:cxn ang="0">
                <a:pos x="103" y="5"/>
              </a:cxn>
              <a:cxn ang="0">
                <a:pos x="93" y="5"/>
              </a:cxn>
              <a:cxn ang="0">
                <a:pos x="74" y="6"/>
              </a:cxn>
              <a:cxn ang="0">
                <a:pos x="60" y="6"/>
              </a:cxn>
              <a:cxn ang="0">
                <a:pos x="58" y="9"/>
              </a:cxn>
              <a:cxn ang="0">
                <a:pos x="56" y="12"/>
              </a:cxn>
              <a:cxn ang="0">
                <a:pos x="54" y="15"/>
              </a:cxn>
              <a:cxn ang="0">
                <a:pos x="50" y="17"/>
              </a:cxn>
              <a:cxn ang="0">
                <a:pos x="42" y="20"/>
              </a:cxn>
              <a:cxn ang="0">
                <a:pos x="33" y="22"/>
              </a:cxn>
              <a:cxn ang="0">
                <a:pos x="14" y="24"/>
              </a:cxn>
              <a:cxn ang="0">
                <a:pos x="0" y="24"/>
              </a:cxn>
              <a:cxn ang="0">
                <a:pos x="1" y="27"/>
              </a:cxn>
              <a:cxn ang="0">
                <a:pos x="3" y="29"/>
              </a:cxn>
              <a:cxn ang="0">
                <a:pos x="5" y="31"/>
              </a:cxn>
              <a:cxn ang="0">
                <a:pos x="9" y="33"/>
              </a:cxn>
              <a:cxn ang="0">
                <a:pos x="17" y="35"/>
              </a:cxn>
              <a:cxn ang="0">
                <a:pos x="27" y="36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35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6354763" y="1214438"/>
            <a:ext cx="63500" cy="57150"/>
          </a:xfrm>
          <a:custGeom>
            <a:avLst/>
            <a:gdLst/>
            <a:ahLst/>
            <a:cxnLst>
              <a:cxn ang="0">
                <a:pos x="103" y="0"/>
              </a:cxn>
              <a:cxn ang="0">
                <a:pos x="118" y="1"/>
              </a:cxn>
              <a:cxn ang="0">
                <a:pos x="134" y="3"/>
              </a:cxn>
              <a:cxn ang="0">
                <a:pos x="145" y="5"/>
              </a:cxn>
              <a:cxn ang="0">
                <a:pos x="149" y="6"/>
              </a:cxn>
              <a:cxn ang="0">
                <a:pos x="149" y="8"/>
              </a:cxn>
              <a:cxn ang="0">
                <a:pos x="147" y="10"/>
              </a:cxn>
              <a:cxn ang="0">
                <a:pos x="145" y="12"/>
              </a:cxn>
              <a:cxn ang="0">
                <a:pos x="141" y="13"/>
              </a:cxn>
              <a:cxn ang="0">
                <a:pos x="137" y="14"/>
              </a:cxn>
              <a:cxn ang="0">
                <a:pos x="132" y="14"/>
              </a:cxn>
              <a:cxn ang="0">
                <a:pos x="127" y="14"/>
              </a:cxn>
              <a:cxn ang="0">
                <a:pos x="123" y="12"/>
              </a:cxn>
              <a:cxn ang="0">
                <a:pos x="123" y="23"/>
              </a:cxn>
              <a:cxn ang="0">
                <a:pos x="123" y="33"/>
              </a:cxn>
              <a:cxn ang="0">
                <a:pos x="123" y="41"/>
              </a:cxn>
              <a:cxn ang="0">
                <a:pos x="123" y="49"/>
              </a:cxn>
              <a:cxn ang="0">
                <a:pos x="116" y="50"/>
              </a:cxn>
              <a:cxn ang="0">
                <a:pos x="109" y="51"/>
              </a:cxn>
              <a:cxn ang="0">
                <a:pos x="104" y="53"/>
              </a:cxn>
              <a:cxn ang="0">
                <a:pos x="100" y="55"/>
              </a:cxn>
              <a:cxn ang="0">
                <a:pos x="94" y="57"/>
              </a:cxn>
              <a:cxn ang="0">
                <a:pos x="89" y="59"/>
              </a:cxn>
              <a:cxn ang="0">
                <a:pos x="83" y="61"/>
              </a:cxn>
              <a:cxn ang="0">
                <a:pos x="76" y="61"/>
              </a:cxn>
              <a:cxn ang="0">
                <a:pos x="67" y="60"/>
              </a:cxn>
              <a:cxn ang="0">
                <a:pos x="53" y="57"/>
              </a:cxn>
              <a:cxn ang="0">
                <a:pos x="39" y="54"/>
              </a:cxn>
              <a:cxn ang="0">
                <a:pos x="25" y="49"/>
              </a:cxn>
              <a:cxn ang="0">
                <a:pos x="12" y="45"/>
              </a:cxn>
              <a:cxn ang="0">
                <a:pos x="3" y="41"/>
              </a:cxn>
              <a:cxn ang="0">
                <a:pos x="1" y="39"/>
              </a:cxn>
              <a:cxn ang="0">
                <a:pos x="0" y="38"/>
              </a:cxn>
              <a:cxn ang="0">
                <a:pos x="0" y="37"/>
              </a:cxn>
              <a:cxn ang="0">
                <a:pos x="3" y="37"/>
              </a:cxn>
              <a:cxn ang="0">
                <a:pos x="19" y="36"/>
              </a:cxn>
              <a:cxn ang="0">
                <a:pos x="35" y="35"/>
              </a:cxn>
              <a:cxn ang="0">
                <a:pos x="48" y="32"/>
              </a:cxn>
              <a:cxn ang="0">
                <a:pos x="60" y="27"/>
              </a:cxn>
              <a:cxn ang="0">
                <a:pos x="72" y="22"/>
              </a:cxn>
              <a:cxn ang="0">
                <a:pos x="82" y="16"/>
              </a:cxn>
              <a:cxn ang="0">
                <a:pos x="93" y="8"/>
              </a:cxn>
              <a:cxn ang="0">
                <a:pos x="103" y="0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36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6391276" y="1222375"/>
            <a:ext cx="130175" cy="57150"/>
          </a:xfrm>
          <a:custGeom>
            <a:avLst/>
            <a:gdLst/>
            <a:ahLst/>
            <a:cxnLst>
              <a:cxn ang="0">
                <a:pos x="133" y="72"/>
              </a:cxn>
              <a:cxn ang="0">
                <a:pos x="154" y="65"/>
              </a:cxn>
              <a:cxn ang="0">
                <a:pos x="178" y="54"/>
              </a:cxn>
              <a:cxn ang="0">
                <a:pos x="199" y="42"/>
              </a:cxn>
              <a:cxn ang="0">
                <a:pos x="207" y="40"/>
              </a:cxn>
              <a:cxn ang="0">
                <a:pos x="211" y="46"/>
              </a:cxn>
              <a:cxn ang="0">
                <a:pos x="220" y="51"/>
              </a:cxn>
              <a:cxn ang="0">
                <a:pos x="243" y="55"/>
              </a:cxn>
              <a:cxn ang="0">
                <a:pos x="269" y="55"/>
              </a:cxn>
              <a:cxn ang="0">
                <a:pos x="286" y="55"/>
              </a:cxn>
              <a:cxn ang="0">
                <a:pos x="293" y="46"/>
              </a:cxn>
              <a:cxn ang="0">
                <a:pos x="298" y="31"/>
              </a:cxn>
              <a:cxn ang="0">
                <a:pos x="279" y="25"/>
              </a:cxn>
              <a:cxn ang="0">
                <a:pos x="244" y="25"/>
              </a:cxn>
              <a:cxn ang="0">
                <a:pos x="225" y="25"/>
              </a:cxn>
              <a:cxn ang="0">
                <a:pos x="214" y="27"/>
              </a:cxn>
              <a:cxn ang="0">
                <a:pos x="204" y="33"/>
              </a:cxn>
              <a:cxn ang="0">
                <a:pos x="172" y="37"/>
              </a:cxn>
              <a:cxn ang="0">
                <a:pos x="176" y="28"/>
              </a:cxn>
              <a:cxn ang="0">
                <a:pos x="180" y="21"/>
              </a:cxn>
              <a:cxn ang="0">
                <a:pos x="194" y="13"/>
              </a:cxn>
              <a:cxn ang="0">
                <a:pos x="210" y="9"/>
              </a:cxn>
              <a:cxn ang="0">
                <a:pos x="225" y="0"/>
              </a:cxn>
              <a:cxn ang="0">
                <a:pos x="185" y="3"/>
              </a:cxn>
              <a:cxn ang="0">
                <a:pos x="157" y="11"/>
              </a:cxn>
              <a:cxn ang="0">
                <a:pos x="134" y="25"/>
              </a:cxn>
              <a:cxn ang="0">
                <a:pos x="114" y="40"/>
              </a:cxn>
              <a:cxn ang="0">
                <a:pos x="100" y="53"/>
              </a:cxn>
              <a:cxn ang="0">
                <a:pos x="87" y="59"/>
              </a:cxn>
              <a:cxn ang="0">
                <a:pos x="64" y="63"/>
              </a:cxn>
              <a:cxn ang="0">
                <a:pos x="32" y="64"/>
              </a:cxn>
              <a:cxn ang="0">
                <a:pos x="12" y="67"/>
              </a:cxn>
              <a:cxn ang="0">
                <a:pos x="2" y="70"/>
              </a:cxn>
              <a:cxn ang="0">
                <a:pos x="39" y="74"/>
              </a:cxn>
              <a:cxn ang="0">
                <a:pos x="102" y="74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37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6924676" y="1408113"/>
            <a:ext cx="41275" cy="57150"/>
          </a:xfrm>
          <a:custGeom>
            <a:avLst/>
            <a:gdLst/>
            <a:ahLst/>
            <a:cxnLst>
              <a:cxn ang="0">
                <a:pos x="93" y="0"/>
              </a:cxn>
              <a:cxn ang="0">
                <a:pos x="97" y="7"/>
              </a:cxn>
              <a:cxn ang="0">
                <a:pos x="100" y="18"/>
              </a:cxn>
              <a:cxn ang="0">
                <a:pos x="92" y="24"/>
              </a:cxn>
              <a:cxn ang="0">
                <a:pos x="86" y="29"/>
              </a:cxn>
              <a:cxn ang="0">
                <a:pos x="79" y="34"/>
              </a:cxn>
              <a:cxn ang="0">
                <a:pos x="72" y="37"/>
              </a:cxn>
              <a:cxn ang="0">
                <a:pos x="65" y="39"/>
              </a:cxn>
              <a:cxn ang="0">
                <a:pos x="57" y="41"/>
              </a:cxn>
              <a:cxn ang="0">
                <a:pos x="49" y="42"/>
              </a:cxn>
              <a:cxn ang="0">
                <a:pos x="40" y="42"/>
              </a:cxn>
              <a:cxn ang="0">
                <a:pos x="27" y="41"/>
              </a:cxn>
              <a:cxn ang="0">
                <a:pos x="12" y="39"/>
              </a:cxn>
              <a:cxn ang="0">
                <a:pos x="1" y="37"/>
              </a:cxn>
              <a:cxn ang="0">
                <a:pos x="0" y="36"/>
              </a:cxn>
              <a:cxn ang="0">
                <a:pos x="6" y="36"/>
              </a:cxn>
              <a:cxn ang="0">
                <a:pos x="12" y="35"/>
              </a:cxn>
              <a:cxn ang="0">
                <a:pos x="18" y="33"/>
              </a:cxn>
              <a:cxn ang="0">
                <a:pos x="23" y="30"/>
              </a:cxn>
              <a:cxn ang="0">
                <a:pos x="33" y="25"/>
              </a:cxn>
              <a:cxn ang="0">
                <a:pos x="44" y="18"/>
              </a:cxn>
              <a:cxn ang="0">
                <a:pos x="55" y="11"/>
              </a:cxn>
              <a:cxn ang="0">
                <a:pos x="66" y="5"/>
              </a:cxn>
              <a:cxn ang="0">
                <a:pos x="72" y="3"/>
              </a:cxn>
              <a:cxn ang="0">
                <a:pos x="79" y="1"/>
              </a:cxn>
              <a:cxn ang="0">
                <a:pos x="86" y="0"/>
              </a:cxn>
              <a:cxn ang="0">
                <a:pos x="93" y="0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38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6834189" y="1266825"/>
            <a:ext cx="15875" cy="58738"/>
          </a:xfrm>
          <a:custGeom>
            <a:avLst/>
            <a:gdLst/>
            <a:ahLst/>
            <a:cxnLst>
              <a:cxn ang="0">
                <a:pos x="40" y="5"/>
              </a:cxn>
              <a:cxn ang="0">
                <a:pos x="0" y="5"/>
              </a:cxn>
              <a:cxn ang="0">
                <a:pos x="5" y="3"/>
              </a:cxn>
              <a:cxn ang="0">
                <a:pos x="9" y="1"/>
              </a:cxn>
              <a:cxn ang="0">
                <a:pos x="15" y="0"/>
              </a:cxn>
              <a:cxn ang="0">
                <a:pos x="20" y="0"/>
              </a:cxn>
              <a:cxn ang="0">
                <a:pos x="25" y="0"/>
              </a:cxn>
              <a:cxn ang="0">
                <a:pos x="30" y="1"/>
              </a:cxn>
              <a:cxn ang="0">
                <a:pos x="35" y="3"/>
              </a:cxn>
              <a:cxn ang="0">
                <a:pos x="40" y="5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39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6856414" y="1225551"/>
            <a:ext cx="14287" cy="60325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20" y="0"/>
              </a:cxn>
              <a:cxn ang="0">
                <a:pos x="20" y="4"/>
              </a:cxn>
              <a:cxn ang="0">
                <a:pos x="22" y="10"/>
              </a:cxn>
              <a:cxn ang="0">
                <a:pos x="25" y="14"/>
              </a:cxn>
              <a:cxn ang="0">
                <a:pos x="27" y="18"/>
              </a:cxn>
              <a:cxn ang="0">
                <a:pos x="31" y="26"/>
              </a:cxn>
              <a:cxn ang="0">
                <a:pos x="33" y="31"/>
              </a:cxn>
              <a:cxn ang="0">
                <a:pos x="0" y="31"/>
              </a:cxn>
              <a:cxn ang="0">
                <a:pos x="0" y="25"/>
              </a:cxn>
              <a:cxn ang="0">
                <a:pos x="0" y="19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40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7000876" y="1341438"/>
            <a:ext cx="17463" cy="57150"/>
          </a:xfrm>
          <a:custGeom>
            <a:avLst/>
            <a:gdLst/>
            <a:ahLst/>
            <a:cxnLst>
              <a:cxn ang="0">
                <a:pos x="41" y="0"/>
              </a:cxn>
              <a:cxn ang="0">
                <a:pos x="41" y="43"/>
              </a:cxn>
              <a:cxn ang="0">
                <a:pos x="31" y="42"/>
              </a:cxn>
              <a:cxn ang="0">
                <a:pos x="24" y="40"/>
              </a:cxn>
              <a:cxn ang="0">
                <a:pos x="18" y="37"/>
              </a:cxn>
              <a:cxn ang="0">
                <a:pos x="13" y="33"/>
              </a:cxn>
              <a:cxn ang="0">
                <a:pos x="5" y="25"/>
              </a:cxn>
              <a:cxn ang="0">
                <a:pos x="0" y="19"/>
              </a:cxn>
              <a:cxn ang="0">
                <a:pos x="12" y="13"/>
              </a:cxn>
              <a:cxn ang="0">
                <a:pos x="25" y="7"/>
              </a:cxn>
              <a:cxn ang="0">
                <a:pos x="36" y="2"/>
              </a:cxn>
              <a:cxn ang="0">
                <a:pos x="41" y="0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41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7054851" y="1225551"/>
            <a:ext cx="93663" cy="60325"/>
          </a:xfrm>
          <a:custGeom>
            <a:avLst/>
            <a:gdLst/>
            <a:ahLst/>
            <a:cxnLst>
              <a:cxn ang="0">
                <a:pos x="61" y="0"/>
              </a:cxn>
              <a:cxn ang="0">
                <a:pos x="83" y="0"/>
              </a:cxn>
              <a:cxn ang="0">
                <a:pos x="105" y="1"/>
              </a:cxn>
              <a:cxn ang="0">
                <a:pos x="127" y="3"/>
              </a:cxn>
              <a:cxn ang="0">
                <a:pos x="146" y="7"/>
              </a:cxn>
              <a:cxn ang="0">
                <a:pos x="166" y="11"/>
              </a:cxn>
              <a:cxn ang="0">
                <a:pos x="184" y="16"/>
              </a:cxn>
              <a:cxn ang="0">
                <a:pos x="191" y="19"/>
              </a:cxn>
              <a:cxn ang="0">
                <a:pos x="199" y="23"/>
              </a:cxn>
              <a:cxn ang="0">
                <a:pos x="207" y="27"/>
              </a:cxn>
              <a:cxn ang="0">
                <a:pos x="213" y="31"/>
              </a:cxn>
              <a:cxn ang="0">
                <a:pos x="211" y="35"/>
              </a:cxn>
              <a:cxn ang="0">
                <a:pos x="207" y="38"/>
              </a:cxn>
              <a:cxn ang="0">
                <a:pos x="201" y="41"/>
              </a:cxn>
              <a:cxn ang="0">
                <a:pos x="195" y="44"/>
              </a:cxn>
              <a:cxn ang="0">
                <a:pos x="177" y="49"/>
              </a:cxn>
              <a:cxn ang="0">
                <a:pos x="156" y="53"/>
              </a:cxn>
              <a:cxn ang="0">
                <a:pos x="135" y="57"/>
              </a:cxn>
              <a:cxn ang="0">
                <a:pos x="114" y="59"/>
              </a:cxn>
              <a:cxn ang="0">
                <a:pos x="95" y="62"/>
              </a:cxn>
              <a:cxn ang="0">
                <a:pos x="80" y="62"/>
              </a:cxn>
              <a:cxn ang="0">
                <a:pos x="62" y="62"/>
              </a:cxn>
              <a:cxn ang="0">
                <a:pos x="43" y="59"/>
              </a:cxn>
              <a:cxn ang="0">
                <a:pos x="33" y="59"/>
              </a:cxn>
              <a:cxn ang="0">
                <a:pos x="23" y="59"/>
              </a:cxn>
              <a:cxn ang="0">
                <a:pos x="12" y="60"/>
              </a:cxn>
              <a:cxn ang="0">
                <a:pos x="0" y="62"/>
              </a:cxn>
              <a:cxn ang="0">
                <a:pos x="6" y="50"/>
              </a:cxn>
              <a:cxn ang="0">
                <a:pos x="11" y="39"/>
              </a:cxn>
              <a:cxn ang="0">
                <a:pos x="17" y="29"/>
              </a:cxn>
              <a:cxn ang="0">
                <a:pos x="23" y="20"/>
              </a:cxn>
              <a:cxn ang="0">
                <a:pos x="27" y="16"/>
              </a:cxn>
              <a:cxn ang="0">
                <a:pos x="30" y="12"/>
              </a:cxn>
              <a:cxn ang="0">
                <a:pos x="34" y="9"/>
              </a:cxn>
              <a:cxn ang="0">
                <a:pos x="39" y="6"/>
              </a:cxn>
              <a:cxn ang="0">
                <a:pos x="43" y="3"/>
              </a:cxn>
              <a:cxn ang="0">
                <a:pos x="49" y="1"/>
              </a:cxn>
              <a:cxn ang="0">
                <a:pos x="54" y="0"/>
              </a:cxn>
              <a:cxn ang="0">
                <a:pos x="61" y="0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42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7115175" y="1250951"/>
            <a:ext cx="103188" cy="60325"/>
          </a:xfrm>
          <a:custGeom>
            <a:avLst/>
            <a:gdLst/>
            <a:ahLst/>
            <a:cxnLst>
              <a:cxn ang="0">
                <a:pos x="41" y="0"/>
              </a:cxn>
              <a:cxn ang="0">
                <a:pos x="30" y="3"/>
              </a:cxn>
              <a:cxn ang="0">
                <a:pos x="23" y="5"/>
              </a:cxn>
              <a:cxn ang="0">
                <a:pos x="19" y="7"/>
              </a:cxn>
              <a:cxn ang="0">
                <a:pos x="15" y="9"/>
              </a:cxn>
              <a:cxn ang="0">
                <a:pos x="13" y="13"/>
              </a:cxn>
              <a:cxn ang="0">
                <a:pos x="10" y="15"/>
              </a:cxn>
              <a:cxn ang="0">
                <a:pos x="7" y="17"/>
              </a:cxn>
              <a:cxn ang="0">
                <a:pos x="0" y="19"/>
              </a:cxn>
              <a:cxn ang="0">
                <a:pos x="2" y="24"/>
              </a:cxn>
              <a:cxn ang="0">
                <a:pos x="5" y="27"/>
              </a:cxn>
              <a:cxn ang="0">
                <a:pos x="7" y="30"/>
              </a:cxn>
              <a:cxn ang="0">
                <a:pos x="10" y="33"/>
              </a:cxn>
              <a:cxn ang="0">
                <a:pos x="17" y="36"/>
              </a:cxn>
              <a:cxn ang="0">
                <a:pos x="24" y="38"/>
              </a:cxn>
              <a:cxn ang="0">
                <a:pos x="41" y="38"/>
              </a:cxn>
              <a:cxn ang="0">
                <a:pos x="54" y="38"/>
              </a:cxn>
              <a:cxn ang="0">
                <a:pos x="153" y="38"/>
              </a:cxn>
              <a:cxn ang="0">
                <a:pos x="155" y="41"/>
              </a:cxn>
              <a:cxn ang="0">
                <a:pos x="156" y="44"/>
              </a:cxn>
              <a:cxn ang="0">
                <a:pos x="159" y="46"/>
              </a:cxn>
              <a:cxn ang="0">
                <a:pos x="162" y="48"/>
              </a:cxn>
              <a:cxn ang="0">
                <a:pos x="167" y="51"/>
              </a:cxn>
              <a:cxn ang="0">
                <a:pos x="174" y="54"/>
              </a:cxn>
              <a:cxn ang="0">
                <a:pos x="188" y="56"/>
              </a:cxn>
              <a:cxn ang="0">
                <a:pos x="200" y="56"/>
              </a:cxn>
              <a:cxn ang="0">
                <a:pos x="204" y="55"/>
              </a:cxn>
              <a:cxn ang="0">
                <a:pos x="210" y="54"/>
              </a:cxn>
              <a:cxn ang="0">
                <a:pos x="214" y="52"/>
              </a:cxn>
              <a:cxn ang="0">
                <a:pos x="220" y="49"/>
              </a:cxn>
              <a:cxn ang="0">
                <a:pos x="230" y="43"/>
              </a:cxn>
              <a:cxn ang="0">
                <a:pos x="239" y="38"/>
              </a:cxn>
              <a:cxn ang="0">
                <a:pos x="232" y="37"/>
              </a:cxn>
              <a:cxn ang="0">
                <a:pos x="225" y="36"/>
              </a:cxn>
              <a:cxn ang="0">
                <a:pos x="219" y="34"/>
              </a:cxn>
              <a:cxn ang="0">
                <a:pos x="213" y="32"/>
              </a:cxn>
              <a:cxn ang="0">
                <a:pos x="201" y="26"/>
              </a:cxn>
              <a:cxn ang="0">
                <a:pos x="190" y="19"/>
              </a:cxn>
              <a:cxn ang="0">
                <a:pos x="178" y="13"/>
              </a:cxn>
              <a:cxn ang="0">
                <a:pos x="167" y="6"/>
              </a:cxn>
              <a:cxn ang="0">
                <a:pos x="160" y="4"/>
              </a:cxn>
              <a:cxn ang="0">
                <a:pos x="154" y="2"/>
              </a:cxn>
              <a:cxn ang="0">
                <a:pos x="147" y="1"/>
              </a:cxn>
              <a:cxn ang="0">
                <a:pos x="140" y="0"/>
              </a:cxn>
              <a:cxn ang="0">
                <a:pos x="134" y="1"/>
              </a:cxn>
              <a:cxn ang="0">
                <a:pos x="127" y="4"/>
              </a:cxn>
              <a:cxn ang="0">
                <a:pos x="124" y="6"/>
              </a:cxn>
              <a:cxn ang="0">
                <a:pos x="122" y="8"/>
              </a:cxn>
              <a:cxn ang="0">
                <a:pos x="121" y="10"/>
              </a:cxn>
              <a:cxn ang="0">
                <a:pos x="120" y="13"/>
              </a:cxn>
              <a:cxn ang="0">
                <a:pos x="100" y="8"/>
              </a:cxn>
              <a:cxn ang="0">
                <a:pos x="80" y="4"/>
              </a:cxn>
              <a:cxn ang="0">
                <a:pos x="61" y="1"/>
              </a:cxn>
              <a:cxn ang="0">
                <a:pos x="41" y="0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43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7232650" y="1265238"/>
            <a:ext cx="82550" cy="57150"/>
          </a:xfrm>
          <a:custGeom>
            <a:avLst/>
            <a:gdLst/>
            <a:ahLst/>
            <a:cxnLst>
              <a:cxn ang="0">
                <a:pos x="14" y="19"/>
              </a:cxn>
              <a:cxn ang="0">
                <a:pos x="41" y="0"/>
              </a:cxn>
              <a:cxn ang="0">
                <a:pos x="44" y="3"/>
              </a:cxn>
              <a:cxn ang="0">
                <a:pos x="50" y="6"/>
              </a:cxn>
              <a:cxn ang="0">
                <a:pos x="58" y="9"/>
              </a:cxn>
              <a:cxn ang="0">
                <a:pos x="67" y="12"/>
              </a:cxn>
              <a:cxn ang="0">
                <a:pos x="89" y="19"/>
              </a:cxn>
              <a:cxn ang="0">
                <a:pos x="114" y="26"/>
              </a:cxn>
              <a:cxn ang="0">
                <a:pos x="139" y="33"/>
              </a:cxn>
              <a:cxn ang="0">
                <a:pos x="161" y="38"/>
              </a:cxn>
              <a:cxn ang="0">
                <a:pos x="177" y="42"/>
              </a:cxn>
              <a:cxn ang="0">
                <a:pos x="187" y="43"/>
              </a:cxn>
              <a:cxn ang="0">
                <a:pos x="187" y="56"/>
              </a:cxn>
              <a:cxn ang="0">
                <a:pos x="187" y="68"/>
              </a:cxn>
              <a:cxn ang="0">
                <a:pos x="170" y="70"/>
              </a:cxn>
              <a:cxn ang="0">
                <a:pos x="151" y="71"/>
              </a:cxn>
              <a:cxn ang="0">
                <a:pos x="133" y="71"/>
              </a:cxn>
              <a:cxn ang="0">
                <a:pos x="116" y="70"/>
              </a:cxn>
              <a:cxn ang="0">
                <a:pos x="85" y="69"/>
              </a:cxn>
              <a:cxn ang="0">
                <a:pos x="61" y="68"/>
              </a:cxn>
              <a:cxn ang="0">
                <a:pos x="55" y="69"/>
              </a:cxn>
              <a:cxn ang="0">
                <a:pos x="51" y="70"/>
              </a:cxn>
              <a:cxn ang="0">
                <a:pos x="45" y="72"/>
              </a:cxn>
              <a:cxn ang="0">
                <a:pos x="41" y="74"/>
              </a:cxn>
              <a:cxn ang="0">
                <a:pos x="33" y="78"/>
              </a:cxn>
              <a:cxn ang="0">
                <a:pos x="28" y="80"/>
              </a:cxn>
              <a:cxn ang="0">
                <a:pos x="22" y="79"/>
              </a:cxn>
              <a:cxn ang="0">
                <a:pos x="18" y="76"/>
              </a:cxn>
              <a:cxn ang="0">
                <a:pos x="14" y="72"/>
              </a:cxn>
              <a:cxn ang="0">
                <a:pos x="9" y="67"/>
              </a:cxn>
              <a:cxn ang="0">
                <a:pos x="6" y="62"/>
              </a:cxn>
              <a:cxn ang="0">
                <a:pos x="3" y="57"/>
              </a:cxn>
              <a:cxn ang="0">
                <a:pos x="2" y="53"/>
              </a:cxn>
              <a:cxn ang="0">
                <a:pos x="0" y="50"/>
              </a:cxn>
              <a:cxn ang="0">
                <a:pos x="2" y="44"/>
              </a:cxn>
              <a:cxn ang="0">
                <a:pos x="3" y="40"/>
              </a:cxn>
              <a:cxn ang="0">
                <a:pos x="5" y="36"/>
              </a:cxn>
              <a:cxn ang="0">
                <a:pos x="7" y="31"/>
              </a:cxn>
              <a:cxn ang="0">
                <a:pos x="13" y="24"/>
              </a:cxn>
              <a:cxn ang="0">
                <a:pos x="14" y="1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44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7759701" y="1390650"/>
            <a:ext cx="79375" cy="58738"/>
          </a:xfrm>
          <a:custGeom>
            <a:avLst/>
            <a:gdLst/>
            <a:ahLst/>
            <a:cxnLst>
              <a:cxn ang="0">
                <a:pos x="50" y="0"/>
              </a:cxn>
              <a:cxn ang="0">
                <a:pos x="63" y="0"/>
              </a:cxn>
              <a:cxn ang="0">
                <a:pos x="75" y="1"/>
              </a:cxn>
              <a:cxn ang="0">
                <a:pos x="86" y="4"/>
              </a:cxn>
              <a:cxn ang="0">
                <a:pos x="97" y="7"/>
              </a:cxn>
              <a:cxn ang="0">
                <a:pos x="106" y="10"/>
              </a:cxn>
              <a:cxn ang="0">
                <a:pos x="116" y="15"/>
              </a:cxn>
              <a:cxn ang="0">
                <a:pos x="124" y="19"/>
              </a:cxn>
              <a:cxn ang="0">
                <a:pos x="131" y="25"/>
              </a:cxn>
              <a:cxn ang="0">
                <a:pos x="159" y="49"/>
              </a:cxn>
              <a:cxn ang="0">
                <a:pos x="183" y="73"/>
              </a:cxn>
              <a:cxn ang="0">
                <a:pos x="137" y="73"/>
              </a:cxn>
              <a:cxn ang="0">
                <a:pos x="128" y="72"/>
              </a:cxn>
              <a:cxn ang="0">
                <a:pos x="117" y="70"/>
              </a:cxn>
              <a:cxn ang="0">
                <a:pos x="104" y="66"/>
              </a:cxn>
              <a:cxn ang="0">
                <a:pos x="90" y="62"/>
              </a:cxn>
              <a:cxn ang="0">
                <a:pos x="73" y="56"/>
              </a:cxn>
              <a:cxn ang="0">
                <a:pos x="58" y="50"/>
              </a:cxn>
              <a:cxn ang="0">
                <a:pos x="42" y="44"/>
              </a:cxn>
              <a:cxn ang="0">
                <a:pos x="28" y="37"/>
              </a:cxn>
              <a:cxn ang="0">
                <a:pos x="16" y="30"/>
              </a:cxn>
              <a:cxn ang="0">
                <a:pos x="7" y="23"/>
              </a:cxn>
              <a:cxn ang="0">
                <a:pos x="4" y="19"/>
              </a:cxn>
              <a:cxn ang="0">
                <a:pos x="2" y="16"/>
              </a:cxn>
              <a:cxn ang="0">
                <a:pos x="1" y="14"/>
              </a:cxn>
              <a:cxn ang="0">
                <a:pos x="0" y="11"/>
              </a:cxn>
              <a:cxn ang="0">
                <a:pos x="1" y="8"/>
              </a:cxn>
              <a:cxn ang="0">
                <a:pos x="3" y="6"/>
              </a:cxn>
              <a:cxn ang="0">
                <a:pos x="7" y="4"/>
              </a:cxn>
              <a:cxn ang="0">
                <a:pos x="13" y="3"/>
              </a:cxn>
              <a:cxn ang="0">
                <a:pos x="19" y="1"/>
              </a:cxn>
              <a:cxn ang="0">
                <a:pos x="28" y="0"/>
              </a:cxn>
              <a:cxn ang="0">
                <a:pos x="38" y="0"/>
              </a:cxn>
              <a:cxn ang="0">
                <a:pos x="50" y="0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45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7826375" y="1408113"/>
            <a:ext cx="33338" cy="57150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23" y="2"/>
              </a:cxn>
              <a:cxn ang="0">
                <a:pos x="41" y="1"/>
              </a:cxn>
              <a:cxn ang="0">
                <a:pos x="60" y="0"/>
              </a:cxn>
              <a:cxn ang="0">
                <a:pos x="79" y="0"/>
              </a:cxn>
              <a:cxn ang="0">
                <a:pos x="79" y="9"/>
              </a:cxn>
              <a:cxn ang="0">
                <a:pos x="79" y="18"/>
              </a:cxn>
              <a:cxn ang="0">
                <a:pos x="79" y="22"/>
              </a:cxn>
              <a:cxn ang="0">
                <a:pos x="75" y="27"/>
              </a:cxn>
              <a:cxn ang="0">
                <a:pos x="72" y="31"/>
              </a:cxn>
              <a:cxn ang="0">
                <a:pos x="68" y="35"/>
              </a:cxn>
              <a:cxn ang="0">
                <a:pos x="62" y="38"/>
              </a:cxn>
              <a:cxn ang="0">
                <a:pos x="57" y="40"/>
              </a:cxn>
              <a:cxn ang="0">
                <a:pos x="51" y="42"/>
              </a:cxn>
              <a:cxn ang="0">
                <a:pos x="46" y="42"/>
              </a:cxn>
              <a:cxn ang="0">
                <a:pos x="40" y="42"/>
              </a:cxn>
              <a:cxn ang="0">
                <a:pos x="35" y="41"/>
              </a:cxn>
              <a:cxn ang="0">
                <a:pos x="29" y="39"/>
              </a:cxn>
              <a:cxn ang="0">
                <a:pos x="25" y="37"/>
              </a:cxn>
              <a:cxn ang="0">
                <a:pos x="16" y="32"/>
              </a:cxn>
              <a:cxn ang="0">
                <a:pos x="11" y="26"/>
              </a:cxn>
              <a:cxn ang="0">
                <a:pos x="5" y="20"/>
              </a:cxn>
              <a:cxn ang="0">
                <a:pos x="2" y="14"/>
              </a:cxn>
              <a:cxn ang="0">
                <a:pos x="0" y="9"/>
              </a:cxn>
              <a:cxn ang="0">
                <a:pos x="0" y="6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46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7856539" y="1419225"/>
            <a:ext cx="52387" cy="58738"/>
          </a:xfrm>
          <a:custGeom>
            <a:avLst/>
            <a:gdLst/>
            <a:ahLst/>
            <a:cxnLst>
              <a:cxn ang="0">
                <a:pos x="113" y="39"/>
              </a:cxn>
              <a:cxn ang="0">
                <a:pos x="112" y="42"/>
              </a:cxn>
              <a:cxn ang="0">
                <a:pos x="109" y="45"/>
              </a:cxn>
              <a:cxn ang="0">
                <a:pos x="106" y="47"/>
              </a:cxn>
              <a:cxn ang="0">
                <a:pos x="103" y="49"/>
              </a:cxn>
              <a:cxn ang="0">
                <a:pos x="94" y="51"/>
              </a:cxn>
              <a:cxn ang="0">
                <a:pos x="85" y="52"/>
              </a:cxn>
              <a:cxn ang="0">
                <a:pos x="66" y="52"/>
              </a:cxn>
              <a:cxn ang="0">
                <a:pos x="53" y="51"/>
              </a:cxn>
              <a:cxn ang="0">
                <a:pos x="47" y="51"/>
              </a:cxn>
              <a:cxn ang="0">
                <a:pos x="39" y="48"/>
              </a:cxn>
              <a:cxn ang="0">
                <a:pos x="30" y="45"/>
              </a:cxn>
              <a:cxn ang="0">
                <a:pos x="21" y="41"/>
              </a:cxn>
              <a:cxn ang="0">
                <a:pos x="13" y="36"/>
              </a:cxn>
              <a:cxn ang="0">
                <a:pos x="6" y="31"/>
              </a:cxn>
              <a:cxn ang="0">
                <a:pos x="4" y="28"/>
              </a:cxn>
              <a:cxn ang="0">
                <a:pos x="2" y="25"/>
              </a:cxn>
              <a:cxn ang="0">
                <a:pos x="1" y="22"/>
              </a:cxn>
              <a:cxn ang="0">
                <a:pos x="0" y="20"/>
              </a:cxn>
              <a:cxn ang="0">
                <a:pos x="1" y="15"/>
              </a:cxn>
              <a:cxn ang="0">
                <a:pos x="1" y="11"/>
              </a:cxn>
              <a:cxn ang="0">
                <a:pos x="3" y="8"/>
              </a:cxn>
              <a:cxn ang="0">
                <a:pos x="5" y="5"/>
              </a:cxn>
              <a:cxn ang="0">
                <a:pos x="7" y="3"/>
              </a:cxn>
              <a:cxn ang="0">
                <a:pos x="10" y="2"/>
              </a:cxn>
              <a:cxn ang="0">
                <a:pos x="14" y="1"/>
              </a:cxn>
              <a:cxn ang="0">
                <a:pos x="17" y="0"/>
              </a:cxn>
              <a:cxn ang="0">
                <a:pos x="26" y="0"/>
              </a:cxn>
              <a:cxn ang="0">
                <a:pos x="36" y="2"/>
              </a:cxn>
              <a:cxn ang="0">
                <a:pos x="46" y="5"/>
              </a:cxn>
              <a:cxn ang="0">
                <a:pos x="57" y="9"/>
              </a:cxn>
              <a:cxn ang="0">
                <a:pos x="77" y="18"/>
              </a:cxn>
              <a:cxn ang="0">
                <a:pos x="95" y="29"/>
              </a:cxn>
              <a:cxn ang="0">
                <a:pos x="108" y="36"/>
              </a:cxn>
              <a:cxn ang="0">
                <a:pos x="113" y="3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47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7627938" y="1392239"/>
            <a:ext cx="61912" cy="58737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8" y="9"/>
              </a:cxn>
              <a:cxn ang="0">
                <a:pos x="19" y="8"/>
              </a:cxn>
              <a:cxn ang="0">
                <a:pos x="30" y="7"/>
              </a:cxn>
              <a:cxn ang="0">
                <a:pos x="42" y="5"/>
              </a:cxn>
              <a:cxn ang="0">
                <a:pos x="53" y="2"/>
              </a:cxn>
              <a:cxn ang="0">
                <a:pos x="64" y="1"/>
              </a:cxn>
              <a:cxn ang="0">
                <a:pos x="73" y="0"/>
              </a:cxn>
              <a:cxn ang="0">
                <a:pos x="80" y="2"/>
              </a:cxn>
              <a:cxn ang="0">
                <a:pos x="139" y="39"/>
              </a:cxn>
              <a:cxn ang="0">
                <a:pos x="133" y="40"/>
              </a:cxn>
              <a:cxn ang="0">
                <a:pos x="125" y="39"/>
              </a:cxn>
              <a:cxn ang="0">
                <a:pos x="116" y="38"/>
              </a:cxn>
              <a:cxn ang="0">
                <a:pos x="106" y="36"/>
              </a:cxn>
              <a:cxn ang="0">
                <a:pos x="86" y="30"/>
              </a:cxn>
              <a:cxn ang="0">
                <a:pos x="64" y="24"/>
              </a:cxn>
              <a:cxn ang="0">
                <a:pos x="44" y="16"/>
              </a:cxn>
              <a:cxn ang="0">
                <a:pos x="26" y="11"/>
              </a:cxn>
              <a:cxn ang="0">
                <a:pos x="17" y="9"/>
              </a:cxn>
              <a:cxn ang="0">
                <a:pos x="11" y="7"/>
              </a:cxn>
              <a:cxn ang="0">
                <a:pos x="4" y="7"/>
              </a:cxn>
              <a:cxn ang="0">
                <a:pos x="0" y="8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48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7927975" y="1333500"/>
            <a:ext cx="139700" cy="57150"/>
          </a:xfrm>
          <a:custGeom>
            <a:avLst/>
            <a:gdLst/>
            <a:ahLst/>
            <a:cxnLst>
              <a:cxn ang="0">
                <a:pos x="10" y="7"/>
              </a:cxn>
              <a:cxn ang="0">
                <a:pos x="31" y="1"/>
              </a:cxn>
              <a:cxn ang="0">
                <a:pos x="53" y="0"/>
              </a:cxn>
              <a:cxn ang="0">
                <a:pos x="73" y="4"/>
              </a:cxn>
              <a:cxn ang="0">
                <a:pos x="92" y="10"/>
              </a:cxn>
              <a:cxn ang="0">
                <a:pos x="110" y="18"/>
              </a:cxn>
              <a:cxn ang="0">
                <a:pos x="122" y="29"/>
              </a:cxn>
              <a:cxn ang="0">
                <a:pos x="130" y="38"/>
              </a:cxn>
              <a:cxn ang="0">
                <a:pos x="136" y="34"/>
              </a:cxn>
              <a:cxn ang="0">
                <a:pos x="139" y="15"/>
              </a:cxn>
              <a:cxn ang="0">
                <a:pos x="161" y="7"/>
              </a:cxn>
              <a:cxn ang="0">
                <a:pos x="216" y="13"/>
              </a:cxn>
              <a:cxn ang="0">
                <a:pos x="258" y="23"/>
              </a:cxn>
              <a:cxn ang="0">
                <a:pos x="283" y="32"/>
              </a:cxn>
              <a:cxn ang="0">
                <a:pos x="305" y="43"/>
              </a:cxn>
              <a:cxn ang="0">
                <a:pos x="320" y="55"/>
              </a:cxn>
              <a:cxn ang="0">
                <a:pos x="316" y="64"/>
              </a:cxn>
              <a:cxn ang="0">
                <a:pos x="294" y="68"/>
              </a:cxn>
              <a:cxn ang="0">
                <a:pos x="259" y="71"/>
              </a:cxn>
              <a:cxn ang="0">
                <a:pos x="210" y="70"/>
              </a:cxn>
              <a:cxn ang="0">
                <a:pos x="167" y="68"/>
              </a:cxn>
              <a:cxn ang="0">
                <a:pos x="133" y="69"/>
              </a:cxn>
              <a:cxn ang="0">
                <a:pos x="90" y="71"/>
              </a:cxn>
              <a:cxn ang="0">
                <a:pos x="72" y="68"/>
              </a:cxn>
              <a:cxn ang="0">
                <a:pos x="67" y="64"/>
              </a:cxn>
              <a:cxn ang="0">
                <a:pos x="58" y="61"/>
              </a:cxn>
              <a:cxn ang="0">
                <a:pos x="46" y="59"/>
              </a:cxn>
              <a:cxn ang="0">
                <a:pos x="35" y="53"/>
              </a:cxn>
              <a:cxn ang="0">
                <a:pos x="25" y="45"/>
              </a:cxn>
              <a:cxn ang="0">
                <a:pos x="16" y="39"/>
              </a:cxn>
              <a:cxn ang="0">
                <a:pos x="6" y="37"/>
              </a:cxn>
              <a:cxn ang="0">
                <a:pos x="0" y="22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49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8088313" y="1341438"/>
            <a:ext cx="95250" cy="57150"/>
          </a:xfrm>
          <a:custGeom>
            <a:avLst/>
            <a:gdLst/>
            <a:ahLst/>
            <a:cxnLst>
              <a:cxn ang="0">
                <a:pos x="87" y="25"/>
              </a:cxn>
              <a:cxn ang="0">
                <a:pos x="92" y="26"/>
              </a:cxn>
              <a:cxn ang="0">
                <a:pos x="98" y="27"/>
              </a:cxn>
              <a:cxn ang="0">
                <a:pos x="101" y="28"/>
              </a:cxn>
              <a:cxn ang="0">
                <a:pos x="104" y="27"/>
              </a:cxn>
              <a:cxn ang="0">
                <a:pos x="109" y="27"/>
              </a:cxn>
              <a:cxn ang="0">
                <a:pos x="113" y="25"/>
              </a:cxn>
              <a:cxn ang="0">
                <a:pos x="114" y="26"/>
              </a:cxn>
              <a:cxn ang="0">
                <a:pos x="115" y="26"/>
              </a:cxn>
              <a:cxn ang="0">
                <a:pos x="116" y="25"/>
              </a:cxn>
              <a:cxn ang="0">
                <a:pos x="117" y="25"/>
              </a:cxn>
              <a:cxn ang="0">
                <a:pos x="119" y="22"/>
              </a:cxn>
              <a:cxn ang="0">
                <a:pos x="120" y="17"/>
              </a:cxn>
              <a:cxn ang="0">
                <a:pos x="120" y="7"/>
              </a:cxn>
              <a:cxn ang="0">
                <a:pos x="120" y="0"/>
              </a:cxn>
              <a:cxn ang="0">
                <a:pos x="125" y="5"/>
              </a:cxn>
              <a:cxn ang="0">
                <a:pos x="131" y="10"/>
              </a:cxn>
              <a:cxn ang="0">
                <a:pos x="137" y="15"/>
              </a:cxn>
              <a:cxn ang="0">
                <a:pos x="143" y="19"/>
              </a:cxn>
              <a:cxn ang="0">
                <a:pos x="156" y="25"/>
              </a:cxn>
              <a:cxn ang="0">
                <a:pos x="170" y="30"/>
              </a:cxn>
              <a:cxn ang="0">
                <a:pos x="183" y="35"/>
              </a:cxn>
              <a:cxn ang="0">
                <a:pos x="196" y="41"/>
              </a:cxn>
              <a:cxn ang="0">
                <a:pos x="203" y="44"/>
              </a:cxn>
              <a:cxn ang="0">
                <a:pos x="209" y="47"/>
              </a:cxn>
              <a:cxn ang="0">
                <a:pos x="214" y="51"/>
              </a:cxn>
              <a:cxn ang="0">
                <a:pos x="220" y="55"/>
              </a:cxn>
              <a:cxn ang="0">
                <a:pos x="206" y="56"/>
              </a:cxn>
              <a:cxn ang="0">
                <a:pos x="194" y="57"/>
              </a:cxn>
              <a:cxn ang="0">
                <a:pos x="182" y="58"/>
              </a:cxn>
              <a:cxn ang="0">
                <a:pos x="171" y="60"/>
              </a:cxn>
              <a:cxn ang="0">
                <a:pos x="151" y="65"/>
              </a:cxn>
              <a:cxn ang="0">
                <a:pos x="134" y="70"/>
              </a:cxn>
              <a:cxn ang="0">
                <a:pos x="126" y="71"/>
              </a:cxn>
              <a:cxn ang="0">
                <a:pos x="117" y="72"/>
              </a:cxn>
              <a:cxn ang="0">
                <a:pos x="110" y="72"/>
              </a:cxn>
              <a:cxn ang="0">
                <a:pos x="103" y="72"/>
              </a:cxn>
              <a:cxn ang="0">
                <a:pos x="95" y="70"/>
              </a:cxn>
              <a:cxn ang="0">
                <a:pos x="88" y="66"/>
              </a:cxn>
              <a:cxn ang="0">
                <a:pos x="81" y="61"/>
              </a:cxn>
              <a:cxn ang="0">
                <a:pos x="74" y="55"/>
              </a:cxn>
              <a:cxn ang="0">
                <a:pos x="59" y="53"/>
              </a:cxn>
              <a:cxn ang="0">
                <a:pos x="45" y="50"/>
              </a:cxn>
              <a:cxn ang="0">
                <a:pos x="33" y="47"/>
              </a:cxn>
              <a:cxn ang="0">
                <a:pos x="22" y="43"/>
              </a:cxn>
              <a:cxn ang="0">
                <a:pos x="18" y="41"/>
              </a:cxn>
              <a:cxn ang="0">
                <a:pos x="13" y="38"/>
              </a:cxn>
              <a:cxn ang="0">
                <a:pos x="9" y="35"/>
              </a:cxn>
              <a:cxn ang="0">
                <a:pos x="7" y="31"/>
              </a:cxn>
              <a:cxn ang="0">
                <a:pos x="3" y="27"/>
              </a:cxn>
              <a:cxn ang="0">
                <a:pos x="2" y="23"/>
              </a:cxn>
              <a:cxn ang="0">
                <a:pos x="1" y="18"/>
              </a:cxn>
              <a:cxn ang="0">
                <a:pos x="0" y="13"/>
              </a:cxn>
              <a:cxn ang="0">
                <a:pos x="23" y="17"/>
              </a:cxn>
              <a:cxn ang="0">
                <a:pos x="44" y="21"/>
              </a:cxn>
              <a:cxn ang="0">
                <a:pos x="64" y="24"/>
              </a:cxn>
              <a:cxn ang="0">
                <a:pos x="87" y="25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50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8048625" y="1389064"/>
            <a:ext cx="63500" cy="58737"/>
          </a:xfrm>
          <a:custGeom>
            <a:avLst/>
            <a:gdLst/>
            <a:ahLst/>
            <a:cxnLst>
              <a:cxn ang="0">
                <a:pos x="146" y="25"/>
              </a:cxn>
              <a:cxn ang="0">
                <a:pos x="140" y="16"/>
              </a:cxn>
              <a:cxn ang="0">
                <a:pos x="137" y="9"/>
              </a:cxn>
              <a:cxn ang="0">
                <a:pos x="133" y="4"/>
              </a:cxn>
              <a:cxn ang="0">
                <a:pos x="128" y="1"/>
              </a:cxn>
              <a:cxn ang="0">
                <a:pos x="126" y="1"/>
              </a:cxn>
              <a:cxn ang="0">
                <a:pos x="124" y="1"/>
              </a:cxn>
              <a:cxn ang="0">
                <a:pos x="120" y="2"/>
              </a:cxn>
              <a:cxn ang="0">
                <a:pos x="118" y="3"/>
              </a:cxn>
              <a:cxn ang="0">
                <a:pos x="113" y="9"/>
              </a:cxn>
              <a:cxn ang="0">
                <a:pos x="105" y="19"/>
              </a:cxn>
              <a:cxn ang="0">
                <a:pos x="72" y="19"/>
              </a:cxn>
              <a:cxn ang="0">
                <a:pos x="63" y="18"/>
              </a:cxn>
              <a:cxn ang="0">
                <a:pos x="55" y="17"/>
              </a:cxn>
              <a:cxn ang="0">
                <a:pos x="47" y="14"/>
              </a:cxn>
              <a:cxn ang="0">
                <a:pos x="40" y="12"/>
              </a:cxn>
              <a:cxn ang="0">
                <a:pos x="29" y="6"/>
              </a:cxn>
              <a:cxn ang="0">
                <a:pos x="19" y="0"/>
              </a:cxn>
              <a:cxn ang="0">
                <a:pos x="14" y="9"/>
              </a:cxn>
              <a:cxn ang="0">
                <a:pos x="10" y="15"/>
              </a:cxn>
              <a:cxn ang="0">
                <a:pos x="4" y="20"/>
              </a:cxn>
              <a:cxn ang="0">
                <a:pos x="0" y="25"/>
              </a:cxn>
              <a:cxn ang="0">
                <a:pos x="33" y="25"/>
              </a:cxn>
              <a:cxn ang="0">
                <a:pos x="57" y="25"/>
              </a:cxn>
              <a:cxn ang="0">
                <a:pos x="77" y="25"/>
              </a:cxn>
              <a:cxn ang="0">
                <a:pos x="99" y="25"/>
              </a:cxn>
              <a:cxn ang="0">
                <a:pos x="110" y="26"/>
              </a:cxn>
              <a:cxn ang="0">
                <a:pos x="123" y="29"/>
              </a:cxn>
              <a:cxn ang="0">
                <a:pos x="128" y="30"/>
              </a:cxn>
              <a:cxn ang="0">
                <a:pos x="135" y="30"/>
              </a:cxn>
              <a:cxn ang="0">
                <a:pos x="140" y="28"/>
              </a:cxn>
              <a:cxn ang="0">
                <a:pos x="146" y="25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51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8027989" y="1385889"/>
            <a:ext cx="20637" cy="58737"/>
          </a:xfrm>
          <a:custGeom>
            <a:avLst/>
            <a:gdLst/>
            <a:ahLst/>
            <a:cxnLst>
              <a:cxn ang="0">
                <a:pos x="0" y="9"/>
              </a:cxn>
              <a:cxn ang="0">
                <a:pos x="17" y="9"/>
              </a:cxn>
              <a:cxn ang="0">
                <a:pos x="29" y="9"/>
              </a:cxn>
              <a:cxn ang="0">
                <a:pos x="40" y="9"/>
              </a:cxn>
              <a:cxn ang="0">
                <a:pos x="53" y="9"/>
              </a:cxn>
              <a:cxn ang="0">
                <a:pos x="46" y="6"/>
              </a:cxn>
              <a:cxn ang="0">
                <a:pos x="38" y="3"/>
              </a:cxn>
              <a:cxn ang="0">
                <a:pos x="31" y="1"/>
              </a:cxn>
              <a:cxn ang="0">
                <a:pos x="25" y="0"/>
              </a:cxn>
              <a:cxn ang="0">
                <a:pos x="19" y="0"/>
              </a:cxn>
              <a:cxn ang="0">
                <a:pos x="14" y="0"/>
              </a:cxn>
              <a:cxn ang="0">
                <a:pos x="9" y="1"/>
              </a:cxn>
              <a:cxn ang="0">
                <a:pos x="6" y="3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52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8029575" y="1384300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53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7199313" y="1312863"/>
            <a:ext cx="11112" cy="55562"/>
          </a:xfrm>
          <a:custGeom>
            <a:avLst/>
            <a:gdLst/>
            <a:ahLst/>
            <a:cxnLst>
              <a:cxn ang="0">
                <a:pos x="0" y="25"/>
              </a:cxn>
              <a:cxn ang="0">
                <a:pos x="5" y="17"/>
              </a:cxn>
              <a:cxn ang="0">
                <a:pos x="13" y="8"/>
              </a:cxn>
              <a:cxn ang="0">
                <a:pos x="16" y="5"/>
              </a:cxn>
              <a:cxn ang="0">
                <a:pos x="20" y="2"/>
              </a:cxn>
              <a:cxn ang="0">
                <a:pos x="23" y="1"/>
              </a:cxn>
              <a:cxn ang="0">
                <a:pos x="26" y="0"/>
              </a:cxn>
              <a:cxn ang="0">
                <a:pos x="26" y="25"/>
              </a:cxn>
              <a:cxn ang="0">
                <a:pos x="20" y="25"/>
              </a:cxn>
              <a:cxn ang="0">
                <a:pos x="13" y="25"/>
              </a:cxn>
              <a:cxn ang="0">
                <a:pos x="0" y="25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54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7948614" y="1384300"/>
            <a:ext cx="9525" cy="57150"/>
          </a:xfrm>
          <a:custGeom>
            <a:avLst/>
            <a:gdLst/>
            <a:ahLst/>
            <a:cxnLst>
              <a:cxn ang="0">
                <a:pos x="33" y="25"/>
              </a:cxn>
              <a:cxn ang="0">
                <a:pos x="33" y="12"/>
              </a:cxn>
              <a:cxn ang="0">
                <a:pos x="33" y="0"/>
              </a:cxn>
              <a:cxn ang="0">
                <a:pos x="0" y="0"/>
              </a:cxn>
              <a:cxn ang="0">
                <a:pos x="9" y="9"/>
              </a:cxn>
              <a:cxn ang="0">
                <a:pos x="16" y="17"/>
              </a:cxn>
              <a:cxn ang="0">
                <a:pos x="20" y="20"/>
              </a:cxn>
              <a:cxn ang="0">
                <a:pos x="24" y="23"/>
              </a:cxn>
              <a:cxn ang="0">
                <a:pos x="28" y="24"/>
              </a:cxn>
              <a:cxn ang="0">
                <a:pos x="33" y="25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55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7902576" y="1347788"/>
            <a:ext cx="9525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3" y="18"/>
              </a:cxn>
              <a:cxn ang="0">
                <a:pos x="16" y="11"/>
              </a:cxn>
              <a:cxn ang="0">
                <a:pos x="20" y="0"/>
              </a:cxn>
              <a:cxn ang="0">
                <a:pos x="0" y="0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56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8402638" y="1917700"/>
            <a:ext cx="12700" cy="58738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0"/>
              </a:cxn>
              <a:cxn ang="0">
                <a:pos x="9" y="0"/>
              </a:cxn>
              <a:cxn ang="0">
                <a:pos x="16" y="0"/>
              </a:cxn>
              <a:cxn ang="0">
                <a:pos x="24" y="0"/>
              </a:cxn>
              <a:cxn ang="0">
                <a:pos x="33" y="0"/>
              </a:cxn>
              <a:cxn ang="0">
                <a:pos x="30" y="2"/>
              </a:cxn>
              <a:cxn ang="0">
                <a:pos x="29" y="5"/>
              </a:cxn>
              <a:cxn ang="0">
                <a:pos x="28" y="9"/>
              </a:cxn>
              <a:cxn ang="0">
                <a:pos x="28" y="13"/>
              </a:cxn>
              <a:cxn ang="0">
                <a:pos x="28" y="17"/>
              </a:cxn>
              <a:cxn ang="0">
                <a:pos x="29" y="21"/>
              </a:cxn>
              <a:cxn ang="0">
                <a:pos x="30" y="26"/>
              </a:cxn>
              <a:cxn ang="0">
                <a:pos x="33" y="31"/>
              </a:cxn>
              <a:cxn ang="0">
                <a:pos x="0" y="31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57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8696326" y="1439864"/>
            <a:ext cx="55563" cy="58737"/>
          </a:xfrm>
          <a:custGeom>
            <a:avLst/>
            <a:gdLst/>
            <a:ahLst/>
            <a:cxnLst>
              <a:cxn ang="0">
                <a:pos x="3" y="44"/>
              </a:cxn>
              <a:cxn ang="0">
                <a:pos x="1" y="42"/>
              </a:cxn>
              <a:cxn ang="0">
                <a:pos x="1" y="40"/>
              </a:cxn>
              <a:cxn ang="0">
                <a:pos x="0" y="37"/>
              </a:cxn>
              <a:cxn ang="0">
                <a:pos x="1" y="33"/>
              </a:cxn>
              <a:cxn ang="0">
                <a:pos x="2" y="25"/>
              </a:cxn>
              <a:cxn ang="0">
                <a:pos x="3" y="18"/>
              </a:cxn>
              <a:cxn ang="0">
                <a:pos x="9" y="13"/>
              </a:cxn>
              <a:cxn ang="0">
                <a:pos x="16" y="9"/>
              </a:cxn>
              <a:cxn ang="0">
                <a:pos x="21" y="6"/>
              </a:cxn>
              <a:cxn ang="0">
                <a:pos x="27" y="5"/>
              </a:cxn>
              <a:cxn ang="0">
                <a:pos x="39" y="3"/>
              </a:cxn>
              <a:cxn ang="0">
                <a:pos x="57" y="0"/>
              </a:cxn>
              <a:cxn ang="0">
                <a:pos x="60" y="5"/>
              </a:cxn>
              <a:cxn ang="0">
                <a:pos x="64" y="8"/>
              </a:cxn>
              <a:cxn ang="0">
                <a:pos x="69" y="11"/>
              </a:cxn>
              <a:cxn ang="0">
                <a:pos x="73" y="14"/>
              </a:cxn>
              <a:cxn ang="0">
                <a:pos x="83" y="18"/>
              </a:cxn>
              <a:cxn ang="0">
                <a:pos x="93" y="21"/>
              </a:cxn>
              <a:cxn ang="0">
                <a:pos x="103" y="25"/>
              </a:cxn>
              <a:cxn ang="0">
                <a:pos x="113" y="29"/>
              </a:cxn>
              <a:cxn ang="0">
                <a:pos x="117" y="32"/>
              </a:cxn>
              <a:cxn ang="0">
                <a:pos x="121" y="35"/>
              </a:cxn>
              <a:cxn ang="0">
                <a:pos x="126" y="38"/>
              </a:cxn>
              <a:cxn ang="0">
                <a:pos x="129" y="44"/>
              </a:cxn>
              <a:cxn ang="0">
                <a:pos x="119" y="48"/>
              </a:cxn>
              <a:cxn ang="0">
                <a:pos x="109" y="51"/>
              </a:cxn>
              <a:cxn ang="0">
                <a:pos x="99" y="53"/>
              </a:cxn>
              <a:cxn ang="0">
                <a:pos x="90" y="54"/>
              </a:cxn>
              <a:cxn ang="0">
                <a:pos x="70" y="56"/>
              </a:cxn>
              <a:cxn ang="0">
                <a:pos x="49" y="56"/>
              </a:cxn>
              <a:cxn ang="0">
                <a:pos x="40" y="55"/>
              </a:cxn>
              <a:cxn ang="0">
                <a:pos x="31" y="54"/>
              </a:cxn>
              <a:cxn ang="0">
                <a:pos x="23" y="52"/>
              </a:cxn>
              <a:cxn ang="0">
                <a:pos x="16" y="50"/>
              </a:cxn>
              <a:cxn ang="0">
                <a:pos x="6" y="46"/>
              </a:cxn>
              <a:cxn ang="0">
                <a:pos x="3" y="44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58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8832850" y="1792288"/>
            <a:ext cx="14288" cy="57150"/>
          </a:xfrm>
          <a:custGeom>
            <a:avLst/>
            <a:gdLst/>
            <a:ahLst/>
            <a:cxnLst>
              <a:cxn ang="0">
                <a:pos x="21" y="42"/>
              </a:cxn>
              <a:cxn ang="0">
                <a:pos x="0" y="30"/>
              </a:cxn>
              <a:cxn ang="0">
                <a:pos x="0" y="6"/>
              </a:cxn>
              <a:cxn ang="0">
                <a:pos x="7" y="5"/>
              </a:cxn>
              <a:cxn ang="0">
                <a:pos x="14" y="3"/>
              </a:cxn>
              <a:cxn ang="0">
                <a:pos x="24" y="1"/>
              </a:cxn>
              <a:cxn ang="0">
                <a:pos x="34" y="0"/>
              </a:cxn>
              <a:cxn ang="0">
                <a:pos x="34" y="18"/>
              </a:cxn>
              <a:cxn ang="0">
                <a:pos x="41" y="18"/>
              </a:cxn>
              <a:cxn ang="0">
                <a:pos x="21" y="42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59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8982076" y="1905001"/>
            <a:ext cx="42863" cy="60325"/>
          </a:xfrm>
          <a:custGeom>
            <a:avLst/>
            <a:gdLst/>
            <a:ahLst/>
            <a:cxnLst>
              <a:cxn ang="0">
                <a:pos x="60" y="9"/>
              </a:cxn>
              <a:cxn ang="0">
                <a:pos x="67" y="18"/>
              </a:cxn>
              <a:cxn ang="0">
                <a:pos x="77" y="28"/>
              </a:cxn>
              <a:cxn ang="0">
                <a:pos x="81" y="33"/>
              </a:cxn>
              <a:cxn ang="0">
                <a:pos x="86" y="36"/>
              </a:cxn>
              <a:cxn ang="0">
                <a:pos x="90" y="38"/>
              </a:cxn>
              <a:cxn ang="0">
                <a:pos x="93" y="39"/>
              </a:cxn>
              <a:cxn ang="0">
                <a:pos x="60" y="39"/>
              </a:cxn>
              <a:cxn ang="0">
                <a:pos x="50" y="36"/>
              </a:cxn>
              <a:cxn ang="0">
                <a:pos x="43" y="32"/>
              </a:cxn>
              <a:cxn ang="0">
                <a:pos x="36" y="28"/>
              </a:cxn>
              <a:cxn ang="0">
                <a:pos x="30" y="23"/>
              </a:cxn>
              <a:cxn ang="0">
                <a:pos x="24" y="18"/>
              </a:cxn>
              <a:cxn ang="0">
                <a:pos x="16" y="13"/>
              </a:cxn>
              <a:cxn ang="0">
                <a:pos x="9" y="7"/>
              </a:cxn>
              <a:cxn ang="0">
                <a:pos x="0" y="3"/>
              </a:cxn>
              <a:cxn ang="0">
                <a:pos x="11" y="1"/>
              </a:cxn>
              <a:cxn ang="0">
                <a:pos x="20" y="0"/>
              </a:cxn>
              <a:cxn ang="0">
                <a:pos x="26" y="0"/>
              </a:cxn>
              <a:cxn ang="0">
                <a:pos x="33" y="1"/>
              </a:cxn>
              <a:cxn ang="0">
                <a:pos x="44" y="4"/>
              </a:cxn>
              <a:cxn ang="0">
                <a:pos x="60" y="9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60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9032875" y="1920875"/>
            <a:ext cx="19050" cy="58738"/>
          </a:xfrm>
          <a:custGeom>
            <a:avLst/>
            <a:gdLst/>
            <a:ahLst/>
            <a:cxnLst>
              <a:cxn ang="0">
                <a:pos x="39" y="19"/>
              </a:cxn>
              <a:cxn ang="0">
                <a:pos x="13" y="19"/>
              </a:cxn>
              <a:cxn ang="0">
                <a:pos x="8" y="19"/>
              </a:cxn>
              <a:cxn ang="0">
                <a:pos x="5" y="17"/>
              </a:cxn>
              <a:cxn ang="0">
                <a:pos x="3" y="14"/>
              </a:cxn>
              <a:cxn ang="0">
                <a:pos x="2" y="11"/>
              </a:cxn>
              <a:cxn ang="0">
                <a:pos x="0" y="5"/>
              </a:cxn>
              <a:cxn ang="0">
                <a:pos x="0" y="0"/>
              </a:cxn>
              <a:cxn ang="0">
                <a:pos x="13" y="4"/>
              </a:cxn>
              <a:cxn ang="0">
                <a:pos x="22" y="9"/>
              </a:cxn>
              <a:cxn ang="0">
                <a:pos x="30" y="14"/>
              </a:cxn>
              <a:cxn ang="0">
                <a:pos x="39" y="19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61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8897939" y="2047875"/>
            <a:ext cx="14287" cy="57150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3" y="31"/>
              </a:cxn>
              <a:cxn ang="0">
                <a:pos x="10" y="20"/>
              </a:cxn>
              <a:cxn ang="0">
                <a:pos x="18" y="8"/>
              </a:cxn>
              <a:cxn ang="0">
                <a:pos x="26" y="0"/>
              </a:cxn>
              <a:cxn ang="0">
                <a:pos x="26" y="9"/>
              </a:cxn>
              <a:cxn ang="0">
                <a:pos x="26" y="18"/>
              </a:cxn>
              <a:cxn ang="0">
                <a:pos x="25" y="22"/>
              </a:cxn>
              <a:cxn ang="0">
                <a:pos x="24" y="26"/>
              </a:cxn>
              <a:cxn ang="0">
                <a:pos x="21" y="29"/>
              </a:cxn>
              <a:cxn ang="0">
                <a:pos x="17" y="32"/>
              </a:cxn>
              <a:cxn ang="0">
                <a:pos x="14" y="34"/>
              </a:cxn>
              <a:cxn ang="0">
                <a:pos x="10" y="35"/>
              </a:cxn>
              <a:cxn ang="0">
                <a:pos x="4" y="36"/>
              </a:cxn>
              <a:cxn ang="0">
                <a:pos x="0" y="36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62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8909051" y="2076451"/>
            <a:ext cx="3175" cy="60325"/>
          </a:xfrm>
          <a:custGeom>
            <a:avLst/>
            <a:gdLst/>
            <a:ahLst/>
            <a:cxnLst>
              <a:cxn ang="0">
                <a:pos x="0" y="37"/>
              </a:cxn>
              <a:cxn ang="0">
                <a:pos x="0" y="0"/>
              </a:cxn>
              <a:cxn ang="0">
                <a:pos x="6" y="0"/>
              </a:cxn>
              <a:cxn ang="0">
                <a:pos x="6" y="31"/>
              </a:cxn>
              <a:cxn ang="0">
                <a:pos x="0" y="37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63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8896351" y="2159001"/>
            <a:ext cx="9525" cy="55563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25"/>
              </a:cxn>
              <a:cxn ang="0">
                <a:pos x="0" y="18"/>
              </a:cxn>
              <a:cxn ang="0">
                <a:pos x="2" y="9"/>
              </a:cxn>
              <a:cxn ang="0">
                <a:pos x="7" y="0"/>
              </a:cxn>
              <a:cxn ang="0">
                <a:pos x="11" y="7"/>
              </a:cxn>
              <a:cxn ang="0">
                <a:pos x="16" y="12"/>
              </a:cxn>
              <a:cxn ang="0">
                <a:pos x="17" y="14"/>
              </a:cxn>
              <a:cxn ang="0">
                <a:pos x="19" y="18"/>
              </a:cxn>
              <a:cxn ang="0">
                <a:pos x="19" y="21"/>
              </a:cxn>
              <a:cxn ang="0">
                <a:pos x="20" y="25"/>
              </a:cxn>
              <a:cxn ang="0">
                <a:pos x="19" y="27"/>
              </a:cxn>
              <a:cxn ang="0">
                <a:pos x="18" y="30"/>
              </a:cxn>
              <a:cxn ang="0">
                <a:pos x="16" y="33"/>
              </a:cxn>
              <a:cxn ang="0">
                <a:pos x="12" y="36"/>
              </a:cxn>
              <a:cxn ang="0">
                <a:pos x="9" y="39"/>
              </a:cxn>
              <a:cxn ang="0">
                <a:pos x="6" y="41"/>
              </a:cxn>
              <a:cxn ang="0">
                <a:pos x="2" y="42"/>
              </a:cxn>
              <a:cxn ang="0">
                <a:pos x="0" y="43"/>
              </a:cxn>
              <a:cxn ang="0">
                <a:pos x="0" y="31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64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8874125" y="2193925"/>
            <a:ext cx="0" cy="58738"/>
          </a:xfrm>
          <a:custGeom>
            <a:avLst/>
            <a:gdLst/>
            <a:ahLst/>
            <a:cxnLst>
              <a:cxn ang="0">
                <a:pos x="0" y="30"/>
              </a:cxn>
              <a:cxn ang="0">
                <a:pos x="0" y="25"/>
              </a:cxn>
              <a:cxn ang="0">
                <a:pos x="0" y="18"/>
              </a:cxn>
              <a:cxn ang="0">
                <a:pos x="0" y="9"/>
              </a:cxn>
              <a:cxn ang="0">
                <a:pos x="0" y="0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65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8874125" y="2193925"/>
            <a:ext cx="7938" cy="587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0" y="0"/>
              </a:cxn>
              <a:cxn ang="0">
                <a:pos x="0" y="24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66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8628063" y="1781176"/>
            <a:ext cx="17462" cy="603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" y="3"/>
              </a:cxn>
              <a:cxn ang="0">
                <a:pos x="14" y="5"/>
              </a:cxn>
              <a:cxn ang="0">
                <a:pos x="19" y="8"/>
              </a:cxn>
              <a:cxn ang="0">
                <a:pos x="23" y="10"/>
              </a:cxn>
              <a:cxn ang="0">
                <a:pos x="26" y="12"/>
              </a:cxn>
              <a:cxn ang="0">
                <a:pos x="32" y="14"/>
              </a:cxn>
              <a:cxn ang="0">
                <a:pos x="37" y="17"/>
              </a:cxn>
              <a:cxn ang="0">
                <a:pos x="46" y="19"/>
              </a:cxn>
              <a:cxn ang="0">
                <a:pos x="33" y="19"/>
              </a:cxn>
              <a:cxn ang="0">
                <a:pos x="24" y="19"/>
              </a:cxn>
              <a:cxn ang="0">
                <a:pos x="18" y="18"/>
              </a:cxn>
              <a:cxn ang="0">
                <a:pos x="13" y="17"/>
              </a:cxn>
              <a:cxn ang="0">
                <a:pos x="10" y="14"/>
              </a:cxn>
              <a:cxn ang="0">
                <a:pos x="7" y="11"/>
              </a:cxn>
              <a:cxn ang="0">
                <a:pos x="4" y="7"/>
              </a:cxn>
              <a:cxn ang="0">
                <a:pos x="0" y="0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67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5943601" y="1920875"/>
            <a:ext cx="47625" cy="58738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100" y="12"/>
              </a:cxn>
              <a:cxn ang="0">
                <a:pos x="100" y="55"/>
              </a:cxn>
              <a:cxn ang="0">
                <a:pos x="13" y="55"/>
              </a:cxn>
              <a:cxn ang="0">
                <a:pos x="0" y="43"/>
              </a:cxn>
              <a:cxn ang="0">
                <a:pos x="1" y="38"/>
              </a:cxn>
              <a:cxn ang="0">
                <a:pos x="4" y="32"/>
              </a:cxn>
              <a:cxn ang="0">
                <a:pos x="10" y="25"/>
              </a:cxn>
              <a:cxn ang="0">
                <a:pos x="16" y="18"/>
              </a:cxn>
              <a:cxn ang="0">
                <a:pos x="27" y="5"/>
              </a:cxn>
              <a:cxn ang="0">
                <a:pos x="33" y="0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68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6392863" y="1512889"/>
            <a:ext cx="42862" cy="58737"/>
          </a:xfrm>
          <a:custGeom>
            <a:avLst/>
            <a:gdLst/>
            <a:ahLst/>
            <a:cxnLst>
              <a:cxn ang="0">
                <a:pos x="53" y="2"/>
              </a:cxn>
              <a:cxn ang="0">
                <a:pos x="58" y="1"/>
              </a:cxn>
              <a:cxn ang="0">
                <a:pos x="62" y="0"/>
              </a:cxn>
              <a:cxn ang="0">
                <a:pos x="65" y="0"/>
              </a:cxn>
              <a:cxn ang="0">
                <a:pos x="69" y="1"/>
              </a:cxn>
              <a:cxn ang="0">
                <a:pos x="74" y="5"/>
              </a:cxn>
              <a:cxn ang="0">
                <a:pos x="79" y="11"/>
              </a:cxn>
              <a:cxn ang="0">
                <a:pos x="83" y="18"/>
              </a:cxn>
              <a:cxn ang="0">
                <a:pos x="87" y="25"/>
              </a:cxn>
              <a:cxn ang="0">
                <a:pos x="91" y="28"/>
              </a:cxn>
              <a:cxn ang="0">
                <a:pos x="93" y="30"/>
              </a:cxn>
              <a:cxn ang="0">
                <a:pos x="96" y="32"/>
              </a:cxn>
              <a:cxn ang="0">
                <a:pos x="99" y="34"/>
              </a:cxn>
              <a:cxn ang="0">
                <a:pos x="99" y="37"/>
              </a:cxn>
              <a:cxn ang="0">
                <a:pos x="97" y="40"/>
              </a:cxn>
              <a:cxn ang="0">
                <a:pos x="95" y="43"/>
              </a:cxn>
              <a:cxn ang="0">
                <a:pos x="91" y="45"/>
              </a:cxn>
              <a:cxn ang="0">
                <a:pos x="86" y="47"/>
              </a:cxn>
              <a:cxn ang="0">
                <a:pos x="81" y="48"/>
              </a:cxn>
              <a:cxn ang="0">
                <a:pos x="74" y="50"/>
              </a:cxn>
              <a:cxn ang="0">
                <a:pos x="68" y="50"/>
              </a:cxn>
              <a:cxn ang="0">
                <a:pos x="52" y="51"/>
              </a:cxn>
              <a:cxn ang="0">
                <a:pos x="36" y="49"/>
              </a:cxn>
              <a:cxn ang="0">
                <a:pos x="27" y="48"/>
              </a:cxn>
              <a:cxn ang="0">
                <a:pos x="18" y="45"/>
              </a:cxn>
              <a:cxn ang="0">
                <a:pos x="9" y="43"/>
              </a:cxn>
              <a:cxn ang="0">
                <a:pos x="1" y="40"/>
              </a:cxn>
              <a:cxn ang="0">
                <a:pos x="0" y="39"/>
              </a:cxn>
              <a:cxn ang="0">
                <a:pos x="1" y="37"/>
              </a:cxn>
              <a:cxn ang="0">
                <a:pos x="3" y="35"/>
              </a:cxn>
              <a:cxn ang="0">
                <a:pos x="6" y="33"/>
              </a:cxn>
              <a:cxn ang="0">
                <a:pos x="14" y="29"/>
              </a:cxn>
              <a:cxn ang="0">
                <a:pos x="25" y="24"/>
              </a:cxn>
              <a:cxn ang="0">
                <a:pos x="35" y="19"/>
              </a:cxn>
              <a:cxn ang="0">
                <a:pos x="45" y="12"/>
              </a:cxn>
              <a:cxn ang="0">
                <a:pos x="48" y="10"/>
              </a:cxn>
              <a:cxn ang="0">
                <a:pos x="51" y="7"/>
              </a:cxn>
              <a:cxn ang="0">
                <a:pos x="52" y="5"/>
              </a:cxn>
              <a:cxn ang="0">
                <a:pos x="53" y="2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69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6427788" y="1325563"/>
            <a:ext cx="228600" cy="163512"/>
          </a:xfrm>
          <a:custGeom>
            <a:avLst/>
            <a:gdLst/>
            <a:ahLst/>
            <a:cxnLst>
              <a:cxn ang="0">
                <a:pos x="315" y="27"/>
              </a:cxn>
              <a:cxn ang="0">
                <a:pos x="342" y="21"/>
              </a:cxn>
              <a:cxn ang="0">
                <a:pos x="385" y="20"/>
              </a:cxn>
              <a:cxn ang="0">
                <a:pos x="408" y="17"/>
              </a:cxn>
              <a:cxn ang="0">
                <a:pos x="427" y="7"/>
              </a:cxn>
              <a:cxn ang="0">
                <a:pos x="514" y="6"/>
              </a:cxn>
              <a:cxn ang="0">
                <a:pos x="525" y="19"/>
              </a:cxn>
              <a:cxn ang="0">
                <a:pos x="468" y="47"/>
              </a:cxn>
              <a:cxn ang="0">
                <a:pos x="392" y="73"/>
              </a:cxn>
              <a:cxn ang="0">
                <a:pos x="356" y="80"/>
              </a:cxn>
              <a:cxn ang="0">
                <a:pos x="321" y="83"/>
              </a:cxn>
              <a:cxn ang="0">
                <a:pos x="279" y="101"/>
              </a:cxn>
              <a:cxn ang="0">
                <a:pos x="244" y="121"/>
              </a:cxn>
              <a:cxn ang="0">
                <a:pos x="218" y="129"/>
              </a:cxn>
              <a:cxn ang="0">
                <a:pos x="187" y="123"/>
              </a:cxn>
              <a:cxn ang="0">
                <a:pos x="178" y="137"/>
              </a:cxn>
              <a:cxn ang="0">
                <a:pos x="175" y="145"/>
              </a:cxn>
              <a:cxn ang="0">
                <a:pos x="185" y="148"/>
              </a:cxn>
              <a:cxn ang="0">
                <a:pos x="184" y="157"/>
              </a:cxn>
              <a:cxn ang="0">
                <a:pos x="176" y="167"/>
              </a:cxn>
              <a:cxn ang="0">
                <a:pos x="180" y="179"/>
              </a:cxn>
              <a:cxn ang="0">
                <a:pos x="162" y="194"/>
              </a:cxn>
              <a:cxn ang="0">
                <a:pos x="144" y="204"/>
              </a:cxn>
              <a:cxn ang="0">
                <a:pos x="141" y="213"/>
              </a:cxn>
              <a:cxn ang="0">
                <a:pos x="144" y="228"/>
              </a:cxn>
              <a:cxn ang="0">
                <a:pos x="163" y="247"/>
              </a:cxn>
              <a:cxn ang="0">
                <a:pos x="191" y="267"/>
              </a:cxn>
              <a:cxn ang="0">
                <a:pos x="256" y="300"/>
              </a:cxn>
              <a:cxn ang="0">
                <a:pos x="243" y="311"/>
              </a:cxn>
              <a:cxn ang="0">
                <a:pos x="189" y="309"/>
              </a:cxn>
              <a:cxn ang="0">
                <a:pos x="145" y="308"/>
              </a:cxn>
              <a:cxn ang="0">
                <a:pos x="129" y="304"/>
              </a:cxn>
              <a:cxn ang="0">
                <a:pos x="123" y="298"/>
              </a:cxn>
              <a:cxn ang="0">
                <a:pos x="120" y="282"/>
              </a:cxn>
              <a:cxn ang="0">
                <a:pos x="116" y="278"/>
              </a:cxn>
              <a:cxn ang="0">
                <a:pos x="95" y="277"/>
              </a:cxn>
              <a:cxn ang="0">
                <a:pos x="80" y="296"/>
              </a:cxn>
              <a:cxn ang="0">
                <a:pos x="44" y="282"/>
              </a:cxn>
              <a:cxn ang="0">
                <a:pos x="0" y="246"/>
              </a:cxn>
              <a:cxn ang="0">
                <a:pos x="18" y="239"/>
              </a:cxn>
              <a:cxn ang="0">
                <a:pos x="34" y="222"/>
              </a:cxn>
              <a:cxn ang="0">
                <a:pos x="28" y="213"/>
              </a:cxn>
              <a:cxn ang="0">
                <a:pos x="34" y="200"/>
              </a:cxn>
              <a:cxn ang="0">
                <a:pos x="40" y="188"/>
              </a:cxn>
              <a:cxn ang="0">
                <a:pos x="34" y="179"/>
              </a:cxn>
              <a:cxn ang="0">
                <a:pos x="134" y="179"/>
              </a:cxn>
              <a:cxn ang="0">
                <a:pos x="131" y="177"/>
              </a:cxn>
              <a:cxn ang="0">
                <a:pos x="90" y="166"/>
              </a:cxn>
              <a:cxn ang="0">
                <a:pos x="54" y="148"/>
              </a:cxn>
              <a:cxn ang="0">
                <a:pos x="84" y="134"/>
              </a:cxn>
              <a:cxn ang="0">
                <a:pos x="120" y="111"/>
              </a:cxn>
              <a:cxn ang="0">
                <a:pos x="111" y="103"/>
              </a:cxn>
              <a:cxn ang="0">
                <a:pos x="100" y="80"/>
              </a:cxn>
              <a:cxn ang="0">
                <a:pos x="127" y="76"/>
              </a:cxn>
              <a:cxn ang="0">
                <a:pos x="184" y="58"/>
              </a:cxn>
              <a:cxn ang="0">
                <a:pos x="254" y="35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70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6219825" y="1636713"/>
            <a:ext cx="31750" cy="55562"/>
          </a:xfrm>
          <a:custGeom>
            <a:avLst/>
            <a:gdLst/>
            <a:ahLst/>
            <a:cxnLst>
              <a:cxn ang="0">
                <a:pos x="46" y="0"/>
              </a:cxn>
              <a:cxn ang="0">
                <a:pos x="54" y="1"/>
              </a:cxn>
              <a:cxn ang="0">
                <a:pos x="62" y="3"/>
              </a:cxn>
              <a:cxn ang="0">
                <a:pos x="68" y="7"/>
              </a:cxn>
              <a:cxn ang="0">
                <a:pos x="72" y="12"/>
              </a:cxn>
              <a:cxn ang="0">
                <a:pos x="75" y="17"/>
              </a:cxn>
              <a:cxn ang="0">
                <a:pos x="77" y="22"/>
              </a:cxn>
              <a:cxn ang="0">
                <a:pos x="79" y="27"/>
              </a:cxn>
              <a:cxn ang="0">
                <a:pos x="79" y="32"/>
              </a:cxn>
              <a:cxn ang="0">
                <a:pos x="77" y="34"/>
              </a:cxn>
              <a:cxn ang="0">
                <a:pos x="75" y="35"/>
              </a:cxn>
              <a:cxn ang="0">
                <a:pos x="72" y="36"/>
              </a:cxn>
              <a:cxn ang="0">
                <a:pos x="68" y="37"/>
              </a:cxn>
              <a:cxn ang="0">
                <a:pos x="57" y="38"/>
              </a:cxn>
              <a:cxn ang="0">
                <a:pos x="46" y="38"/>
              </a:cxn>
              <a:cxn ang="0">
                <a:pos x="38" y="37"/>
              </a:cxn>
              <a:cxn ang="0">
                <a:pos x="30" y="36"/>
              </a:cxn>
              <a:cxn ang="0">
                <a:pos x="21" y="35"/>
              </a:cxn>
              <a:cxn ang="0">
                <a:pos x="15" y="32"/>
              </a:cxn>
              <a:cxn ang="0">
                <a:pos x="8" y="29"/>
              </a:cxn>
              <a:cxn ang="0">
                <a:pos x="4" y="25"/>
              </a:cxn>
              <a:cxn ang="0">
                <a:pos x="2" y="22"/>
              </a:cxn>
              <a:cxn ang="0">
                <a:pos x="1" y="20"/>
              </a:cxn>
              <a:cxn ang="0">
                <a:pos x="0" y="17"/>
              </a:cxn>
              <a:cxn ang="0">
                <a:pos x="0" y="13"/>
              </a:cxn>
              <a:cxn ang="0">
                <a:pos x="1" y="11"/>
              </a:cxn>
              <a:cxn ang="0">
                <a:pos x="4" y="9"/>
              </a:cxn>
              <a:cxn ang="0">
                <a:pos x="10" y="6"/>
              </a:cxn>
              <a:cxn ang="0">
                <a:pos x="17" y="4"/>
              </a:cxn>
              <a:cxn ang="0">
                <a:pos x="32" y="1"/>
              </a:cxn>
              <a:cxn ang="0">
                <a:pos x="46" y="0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71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8524875" y="1933575"/>
            <a:ext cx="196850" cy="268288"/>
          </a:xfrm>
          <a:custGeom>
            <a:avLst/>
            <a:gdLst/>
            <a:ahLst/>
            <a:cxnLst>
              <a:cxn ang="0">
                <a:pos x="26" y="45"/>
              </a:cxn>
              <a:cxn ang="0">
                <a:pos x="12" y="25"/>
              </a:cxn>
              <a:cxn ang="0">
                <a:pos x="0" y="0"/>
              </a:cxn>
              <a:cxn ang="0">
                <a:pos x="22" y="7"/>
              </a:cxn>
              <a:cxn ang="0">
                <a:pos x="33" y="6"/>
              </a:cxn>
              <a:cxn ang="0">
                <a:pos x="95" y="67"/>
              </a:cxn>
              <a:cxn ang="0">
                <a:pos x="146" y="123"/>
              </a:cxn>
              <a:cxn ang="0">
                <a:pos x="216" y="198"/>
              </a:cxn>
              <a:cxn ang="0">
                <a:pos x="258" y="237"/>
              </a:cxn>
              <a:cxn ang="0">
                <a:pos x="303" y="266"/>
              </a:cxn>
              <a:cxn ang="0">
                <a:pos x="372" y="311"/>
              </a:cxn>
              <a:cxn ang="0">
                <a:pos x="398" y="336"/>
              </a:cxn>
              <a:cxn ang="0">
                <a:pos x="365" y="320"/>
              </a:cxn>
              <a:cxn ang="0">
                <a:pos x="324" y="296"/>
              </a:cxn>
              <a:cxn ang="0">
                <a:pos x="314" y="298"/>
              </a:cxn>
              <a:cxn ang="0">
                <a:pos x="313" y="311"/>
              </a:cxn>
              <a:cxn ang="0">
                <a:pos x="317" y="337"/>
              </a:cxn>
              <a:cxn ang="0">
                <a:pos x="326" y="358"/>
              </a:cxn>
              <a:cxn ang="0">
                <a:pos x="348" y="387"/>
              </a:cxn>
              <a:cxn ang="0">
                <a:pos x="394" y="421"/>
              </a:cxn>
              <a:cxn ang="0">
                <a:pos x="440" y="458"/>
              </a:cxn>
              <a:cxn ang="0">
                <a:pos x="448" y="476"/>
              </a:cxn>
              <a:cxn ang="0">
                <a:pos x="428" y="469"/>
              </a:cxn>
              <a:cxn ang="0">
                <a:pos x="392" y="462"/>
              </a:cxn>
              <a:cxn ang="0">
                <a:pos x="393" y="494"/>
              </a:cxn>
              <a:cxn ang="0">
                <a:pos x="398" y="511"/>
              </a:cxn>
              <a:cxn ang="0">
                <a:pos x="388" y="492"/>
              </a:cxn>
              <a:cxn ang="0">
                <a:pos x="363" y="466"/>
              </a:cxn>
              <a:cxn ang="0">
                <a:pos x="343" y="445"/>
              </a:cxn>
              <a:cxn ang="0">
                <a:pos x="339" y="431"/>
              </a:cxn>
              <a:cxn ang="0">
                <a:pos x="328" y="411"/>
              </a:cxn>
              <a:cxn ang="0">
                <a:pos x="310" y="384"/>
              </a:cxn>
              <a:cxn ang="0">
                <a:pos x="298" y="367"/>
              </a:cxn>
              <a:cxn ang="0">
                <a:pos x="280" y="358"/>
              </a:cxn>
              <a:cxn ang="0">
                <a:pos x="264" y="343"/>
              </a:cxn>
              <a:cxn ang="0">
                <a:pos x="249" y="314"/>
              </a:cxn>
              <a:cxn ang="0">
                <a:pos x="245" y="293"/>
              </a:cxn>
              <a:cxn ang="0">
                <a:pos x="234" y="281"/>
              </a:cxn>
              <a:cxn ang="0">
                <a:pos x="194" y="244"/>
              </a:cxn>
              <a:cxn ang="0">
                <a:pos x="171" y="220"/>
              </a:cxn>
              <a:cxn ang="0">
                <a:pos x="163" y="203"/>
              </a:cxn>
              <a:cxn ang="0">
                <a:pos x="154" y="187"/>
              </a:cxn>
              <a:cxn ang="0">
                <a:pos x="115" y="155"/>
              </a:cxn>
              <a:cxn ang="0">
                <a:pos x="70" y="130"/>
              </a:cxn>
              <a:cxn ang="0">
                <a:pos x="47" y="110"/>
              </a:cxn>
              <a:cxn ang="0">
                <a:pos x="38" y="93"/>
              </a:cxn>
              <a:cxn ang="0">
                <a:pos x="34" y="75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grpSp>
        <p:nvGrpSpPr>
          <p:cNvPr id="2572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7315201" y="1889126"/>
            <a:ext cx="671513" cy="384175"/>
            <a:chOff x="4115" y="1551"/>
            <a:chExt cx="504" cy="244"/>
          </a:xfrm>
        </p:grpSpPr>
        <p:sp>
          <p:nvSpPr>
            <p:cNvPr id="2573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/>
              <a:ahLst/>
              <a:cxnLst>
                <a:cxn ang="0">
                  <a:pos x="13" y="247"/>
                </a:cxn>
                <a:cxn ang="0">
                  <a:pos x="79" y="259"/>
                </a:cxn>
                <a:cxn ang="0">
                  <a:pos x="120" y="240"/>
                </a:cxn>
                <a:cxn ang="0">
                  <a:pos x="133" y="210"/>
                </a:cxn>
                <a:cxn ang="0">
                  <a:pos x="192" y="161"/>
                </a:cxn>
                <a:cxn ang="0">
                  <a:pos x="212" y="111"/>
                </a:cxn>
                <a:cxn ang="0">
                  <a:pos x="240" y="26"/>
                </a:cxn>
                <a:cxn ang="0">
                  <a:pos x="212" y="0"/>
                </a:cxn>
                <a:cxn ang="0">
                  <a:pos x="206" y="32"/>
                </a:cxn>
                <a:cxn ang="0">
                  <a:pos x="199" y="74"/>
                </a:cxn>
                <a:cxn ang="0">
                  <a:pos x="166" y="105"/>
                </a:cxn>
                <a:cxn ang="0">
                  <a:pos x="133" y="149"/>
                </a:cxn>
                <a:cxn ang="0">
                  <a:pos x="113" y="179"/>
                </a:cxn>
                <a:cxn ang="0">
                  <a:pos x="93" y="216"/>
                </a:cxn>
                <a:cxn ang="0">
                  <a:pos x="20" y="222"/>
                </a:cxn>
                <a:cxn ang="0">
                  <a:pos x="0" y="222"/>
                </a:cxn>
                <a:cxn ang="0">
                  <a:pos x="13" y="247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2574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/>
              <a:ahLst/>
              <a:cxnLst>
                <a:cxn ang="0">
                  <a:pos x="33" y="104"/>
                </a:cxn>
                <a:cxn ang="0">
                  <a:pos x="26" y="86"/>
                </a:cxn>
                <a:cxn ang="0">
                  <a:pos x="52" y="62"/>
                </a:cxn>
                <a:cxn ang="0">
                  <a:pos x="72" y="49"/>
                </a:cxn>
                <a:cxn ang="0">
                  <a:pos x="126" y="43"/>
                </a:cxn>
                <a:cxn ang="0">
                  <a:pos x="172" y="43"/>
                </a:cxn>
                <a:cxn ang="0">
                  <a:pos x="246" y="31"/>
                </a:cxn>
                <a:cxn ang="0">
                  <a:pos x="259" y="7"/>
                </a:cxn>
                <a:cxn ang="0">
                  <a:pos x="246" y="0"/>
                </a:cxn>
                <a:cxn ang="0">
                  <a:pos x="205" y="13"/>
                </a:cxn>
                <a:cxn ang="0">
                  <a:pos x="152" y="7"/>
                </a:cxn>
                <a:cxn ang="0">
                  <a:pos x="106" y="13"/>
                </a:cxn>
                <a:cxn ang="0">
                  <a:pos x="52" y="19"/>
                </a:cxn>
                <a:cxn ang="0">
                  <a:pos x="26" y="43"/>
                </a:cxn>
                <a:cxn ang="0">
                  <a:pos x="0" y="68"/>
                </a:cxn>
                <a:cxn ang="0">
                  <a:pos x="0" y="104"/>
                </a:cxn>
                <a:cxn ang="0">
                  <a:pos x="33" y="104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2575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6372226" y="2638426"/>
            <a:ext cx="530225" cy="511175"/>
          </a:xfrm>
          <a:custGeom>
            <a:avLst/>
            <a:gdLst/>
            <a:ahLst/>
            <a:cxnLst>
              <a:cxn ang="0">
                <a:pos x="932" y="466"/>
              </a:cxn>
              <a:cxn ang="0">
                <a:pos x="932" y="442"/>
              </a:cxn>
              <a:cxn ang="0">
                <a:pos x="930" y="412"/>
              </a:cxn>
              <a:cxn ang="0">
                <a:pos x="908" y="385"/>
              </a:cxn>
              <a:cxn ang="0">
                <a:pos x="899" y="367"/>
              </a:cxn>
              <a:cxn ang="0">
                <a:pos x="817" y="312"/>
              </a:cxn>
              <a:cxn ang="0">
                <a:pos x="759" y="263"/>
              </a:cxn>
              <a:cxn ang="0">
                <a:pos x="752" y="229"/>
              </a:cxn>
              <a:cxn ang="0">
                <a:pos x="726" y="218"/>
              </a:cxn>
              <a:cxn ang="0">
                <a:pos x="695" y="207"/>
              </a:cxn>
              <a:cxn ang="0">
                <a:pos x="638" y="196"/>
              </a:cxn>
              <a:cxn ang="0">
                <a:pos x="596" y="201"/>
              </a:cxn>
              <a:cxn ang="0">
                <a:pos x="570" y="204"/>
              </a:cxn>
              <a:cxn ang="0">
                <a:pos x="530" y="195"/>
              </a:cxn>
              <a:cxn ang="0">
                <a:pos x="505" y="179"/>
              </a:cxn>
              <a:cxn ang="0">
                <a:pos x="483" y="128"/>
              </a:cxn>
              <a:cxn ang="0">
                <a:pos x="465" y="103"/>
              </a:cxn>
              <a:cxn ang="0">
                <a:pos x="432" y="81"/>
              </a:cxn>
              <a:cxn ang="0">
                <a:pos x="365" y="61"/>
              </a:cxn>
              <a:cxn ang="0">
                <a:pos x="303" y="32"/>
              </a:cxn>
              <a:cxn ang="0">
                <a:pos x="214" y="10"/>
              </a:cxn>
              <a:cxn ang="0">
                <a:pos x="166" y="38"/>
              </a:cxn>
              <a:cxn ang="0">
                <a:pos x="151" y="61"/>
              </a:cxn>
              <a:cxn ang="0">
                <a:pos x="153" y="90"/>
              </a:cxn>
              <a:cxn ang="0">
                <a:pos x="169" y="118"/>
              </a:cxn>
              <a:cxn ang="0">
                <a:pos x="151" y="150"/>
              </a:cxn>
              <a:cxn ang="0">
                <a:pos x="95" y="186"/>
              </a:cxn>
              <a:cxn ang="0">
                <a:pos x="54" y="190"/>
              </a:cxn>
              <a:cxn ang="0">
                <a:pos x="9" y="183"/>
              </a:cxn>
              <a:cxn ang="0">
                <a:pos x="0" y="236"/>
              </a:cxn>
              <a:cxn ang="0">
                <a:pos x="9" y="269"/>
              </a:cxn>
              <a:cxn ang="0">
                <a:pos x="25" y="282"/>
              </a:cxn>
              <a:cxn ang="0">
                <a:pos x="40" y="307"/>
              </a:cxn>
              <a:cxn ang="0">
                <a:pos x="83" y="364"/>
              </a:cxn>
              <a:cxn ang="0">
                <a:pos x="102" y="414"/>
              </a:cxn>
              <a:cxn ang="0">
                <a:pos x="121" y="427"/>
              </a:cxn>
              <a:cxn ang="0">
                <a:pos x="133" y="438"/>
              </a:cxn>
              <a:cxn ang="0">
                <a:pos x="148" y="469"/>
              </a:cxn>
              <a:cxn ang="0">
                <a:pos x="224" y="546"/>
              </a:cxn>
              <a:cxn ang="0">
                <a:pos x="249" y="585"/>
              </a:cxn>
              <a:cxn ang="0">
                <a:pos x="256" y="624"/>
              </a:cxn>
              <a:cxn ang="0">
                <a:pos x="266" y="659"/>
              </a:cxn>
              <a:cxn ang="0">
                <a:pos x="299" y="701"/>
              </a:cxn>
              <a:cxn ang="0">
                <a:pos x="361" y="761"/>
              </a:cxn>
              <a:cxn ang="0">
                <a:pos x="388" y="814"/>
              </a:cxn>
              <a:cxn ang="0">
                <a:pos x="425" y="867"/>
              </a:cxn>
              <a:cxn ang="0">
                <a:pos x="483" y="938"/>
              </a:cxn>
              <a:cxn ang="0">
                <a:pos x="528" y="979"/>
              </a:cxn>
              <a:cxn ang="0">
                <a:pos x="543" y="953"/>
              </a:cxn>
              <a:cxn ang="0">
                <a:pos x="546" y="909"/>
              </a:cxn>
              <a:cxn ang="0">
                <a:pos x="570" y="896"/>
              </a:cxn>
              <a:cxn ang="0">
                <a:pos x="605" y="895"/>
              </a:cxn>
              <a:cxn ang="0">
                <a:pos x="660" y="909"/>
              </a:cxn>
              <a:cxn ang="0">
                <a:pos x="708" y="943"/>
              </a:cxn>
              <a:cxn ang="0">
                <a:pos x="787" y="838"/>
              </a:cxn>
              <a:cxn ang="0">
                <a:pos x="1199" y="567"/>
              </a:cxn>
              <a:cxn ang="0">
                <a:pos x="940" y="468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76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5846763" y="2182813"/>
            <a:ext cx="57150" cy="57150"/>
          </a:xfrm>
          <a:custGeom>
            <a:avLst/>
            <a:gdLst/>
            <a:ahLst/>
            <a:cxnLst>
              <a:cxn ang="0">
                <a:pos x="146" y="18"/>
              </a:cxn>
              <a:cxn ang="0">
                <a:pos x="138" y="24"/>
              </a:cxn>
              <a:cxn ang="0">
                <a:pos x="130" y="29"/>
              </a:cxn>
              <a:cxn ang="0">
                <a:pos x="123" y="35"/>
              </a:cxn>
              <a:cxn ang="0">
                <a:pos x="118" y="41"/>
              </a:cxn>
              <a:cxn ang="0">
                <a:pos x="108" y="53"/>
              </a:cxn>
              <a:cxn ang="0">
                <a:pos x="98" y="64"/>
              </a:cxn>
              <a:cxn ang="0">
                <a:pos x="93" y="69"/>
              </a:cxn>
              <a:cxn ang="0">
                <a:pos x="85" y="73"/>
              </a:cxn>
              <a:cxn ang="0">
                <a:pos x="76" y="77"/>
              </a:cxn>
              <a:cxn ang="0">
                <a:pos x="66" y="80"/>
              </a:cxn>
              <a:cxn ang="0">
                <a:pos x="53" y="81"/>
              </a:cxn>
              <a:cxn ang="0">
                <a:pos x="39" y="80"/>
              </a:cxn>
              <a:cxn ang="0">
                <a:pos x="21" y="77"/>
              </a:cxn>
              <a:cxn ang="0">
                <a:pos x="0" y="74"/>
              </a:cxn>
              <a:cxn ang="0">
                <a:pos x="0" y="62"/>
              </a:cxn>
              <a:cxn ang="0">
                <a:pos x="0" y="49"/>
              </a:cxn>
              <a:cxn ang="0">
                <a:pos x="0" y="34"/>
              </a:cxn>
              <a:cxn ang="0">
                <a:pos x="0" y="18"/>
              </a:cxn>
              <a:cxn ang="0">
                <a:pos x="14" y="18"/>
              </a:cxn>
              <a:cxn ang="0">
                <a:pos x="22" y="18"/>
              </a:cxn>
              <a:cxn ang="0">
                <a:pos x="31" y="18"/>
              </a:cxn>
              <a:cxn ang="0">
                <a:pos x="40" y="18"/>
              </a:cxn>
              <a:cxn ang="0">
                <a:pos x="52" y="18"/>
              </a:cxn>
              <a:cxn ang="0">
                <a:pos x="63" y="16"/>
              </a:cxn>
              <a:cxn ang="0">
                <a:pos x="73" y="14"/>
              </a:cxn>
              <a:cxn ang="0">
                <a:pos x="83" y="11"/>
              </a:cxn>
              <a:cxn ang="0">
                <a:pos x="101" y="5"/>
              </a:cxn>
              <a:cxn ang="0">
                <a:pos x="120" y="0"/>
              </a:cxn>
              <a:cxn ang="0">
                <a:pos x="129" y="4"/>
              </a:cxn>
              <a:cxn ang="0">
                <a:pos x="135" y="9"/>
              </a:cxn>
              <a:cxn ang="0">
                <a:pos x="141" y="14"/>
              </a:cxn>
              <a:cxn ang="0">
                <a:pos x="146" y="18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77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5586414" y="2395538"/>
            <a:ext cx="15875" cy="57150"/>
          </a:xfrm>
          <a:custGeom>
            <a:avLst/>
            <a:gdLst/>
            <a:ahLst/>
            <a:cxnLst>
              <a:cxn ang="0">
                <a:pos x="34" y="49"/>
              </a:cxn>
              <a:cxn ang="0">
                <a:pos x="34" y="34"/>
              </a:cxn>
              <a:cxn ang="0">
                <a:pos x="34" y="25"/>
              </a:cxn>
              <a:cxn ang="0">
                <a:pos x="33" y="21"/>
              </a:cxn>
              <a:cxn ang="0">
                <a:pos x="33" y="17"/>
              </a:cxn>
              <a:cxn ang="0">
                <a:pos x="31" y="15"/>
              </a:cxn>
              <a:cxn ang="0">
                <a:pos x="30" y="12"/>
              </a:cxn>
              <a:cxn ang="0">
                <a:pos x="25" y="8"/>
              </a:cxn>
              <a:cxn ang="0">
                <a:pos x="21" y="0"/>
              </a:cxn>
              <a:cxn ang="0">
                <a:pos x="8" y="0"/>
              </a:cxn>
              <a:cxn ang="0">
                <a:pos x="0" y="0"/>
              </a:cxn>
              <a:cxn ang="0">
                <a:pos x="3" y="11"/>
              </a:cxn>
              <a:cxn ang="0">
                <a:pos x="7" y="20"/>
              </a:cxn>
              <a:cxn ang="0">
                <a:pos x="10" y="27"/>
              </a:cxn>
              <a:cxn ang="0">
                <a:pos x="14" y="34"/>
              </a:cxn>
              <a:cxn ang="0">
                <a:pos x="19" y="39"/>
              </a:cxn>
              <a:cxn ang="0">
                <a:pos x="24" y="43"/>
              </a:cxn>
              <a:cxn ang="0">
                <a:pos x="29" y="46"/>
              </a:cxn>
              <a:cxn ang="0">
                <a:pos x="34" y="49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78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5178426" y="2741613"/>
            <a:ext cx="28575" cy="57150"/>
          </a:xfrm>
          <a:custGeom>
            <a:avLst/>
            <a:gdLst/>
            <a:ahLst/>
            <a:cxnLst>
              <a:cxn ang="0">
                <a:pos x="60" y="0"/>
              </a:cxn>
              <a:cxn ang="0">
                <a:pos x="56" y="4"/>
              </a:cxn>
              <a:cxn ang="0">
                <a:pos x="51" y="10"/>
              </a:cxn>
              <a:cxn ang="0">
                <a:pos x="48" y="15"/>
              </a:cxn>
              <a:cxn ang="0">
                <a:pos x="46" y="21"/>
              </a:cxn>
              <a:cxn ang="0">
                <a:pos x="41" y="31"/>
              </a:cxn>
              <a:cxn ang="0">
                <a:pos x="37" y="42"/>
              </a:cxn>
              <a:cxn ang="0">
                <a:pos x="35" y="47"/>
              </a:cxn>
              <a:cxn ang="0">
                <a:pos x="32" y="51"/>
              </a:cxn>
              <a:cxn ang="0">
                <a:pos x="29" y="56"/>
              </a:cxn>
              <a:cxn ang="0">
                <a:pos x="25" y="60"/>
              </a:cxn>
              <a:cxn ang="0">
                <a:pos x="20" y="65"/>
              </a:cxn>
              <a:cxn ang="0">
                <a:pos x="15" y="69"/>
              </a:cxn>
              <a:cxn ang="0">
                <a:pos x="8" y="72"/>
              </a:cxn>
              <a:cxn ang="0">
                <a:pos x="0" y="74"/>
              </a:cxn>
              <a:cxn ang="0">
                <a:pos x="5" y="60"/>
              </a:cxn>
              <a:cxn ang="0">
                <a:pos x="12" y="47"/>
              </a:cxn>
              <a:cxn ang="0">
                <a:pos x="19" y="34"/>
              </a:cxn>
              <a:cxn ang="0">
                <a:pos x="27" y="23"/>
              </a:cxn>
              <a:cxn ang="0">
                <a:pos x="36" y="14"/>
              </a:cxn>
              <a:cxn ang="0">
                <a:pos x="43" y="6"/>
              </a:cxn>
              <a:cxn ang="0">
                <a:pos x="48" y="3"/>
              </a:cxn>
              <a:cxn ang="0">
                <a:pos x="52" y="1"/>
              </a:cxn>
              <a:cxn ang="0">
                <a:pos x="56" y="0"/>
              </a:cxn>
              <a:cxn ang="0">
                <a:pos x="60" y="0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79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5119688" y="2757489"/>
            <a:ext cx="23812" cy="60325"/>
          </a:xfrm>
          <a:custGeom>
            <a:avLst/>
            <a:gdLst/>
            <a:ahLst/>
            <a:cxnLst>
              <a:cxn ang="0">
                <a:pos x="13" y="8"/>
              </a:cxn>
              <a:cxn ang="0">
                <a:pos x="22" y="8"/>
              </a:cxn>
              <a:cxn ang="0">
                <a:pos x="28" y="6"/>
              </a:cxn>
              <a:cxn ang="0">
                <a:pos x="32" y="5"/>
              </a:cxn>
              <a:cxn ang="0">
                <a:pos x="35" y="3"/>
              </a:cxn>
              <a:cxn ang="0">
                <a:pos x="37" y="1"/>
              </a:cxn>
              <a:cxn ang="0">
                <a:pos x="39" y="0"/>
              </a:cxn>
              <a:cxn ang="0">
                <a:pos x="43" y="1"/>
              </a:cxn>
              <a:cxn ang="0">
                <a:pos x="47" y="2"/>
              </a:cxn>
              <a:cxn ang="0">
                <a:pos x="46" y="7"/>
              </a:cxn>
              <a:cxn ang="0">
                <a:pos x="46" y="11"/>
              </a:cxn>
              <a:cxn ang="0">
                <a:pos x="44" y="15"/>
              </a:cxn>
              <a:cxn ang="0">
                <a:pos x="43" y="19"/>
              </a:cxn>
              <a:cxn ang="0">
                <a:pos x="37" y="26"/>
              </a:cxn>
              <a:cxn ang="0">
                <a:pos x="30" y="32"/>
              </a:cxn>
              <a:cxn ang="0">
                <a:pos x="24" y="38"/>
              </a:cxn>
              <a:cxn ang="0">
                <a:pos x="16" y="42"/>
              </a:cxn>
              <a:cxn ang="0">
                <a:pos x="7" y="45"/>
              </a:cxn>
              <a:cxn ang="0">
                <a:pos x="0" y="45"/>
              </a:cxn>
              <a:cxn ang="0">
                <a:pos x="2" y="38"/>
              </a:cxn>
              <a:cxn ang="0">
                <a:pos x="6" y="26"/>
              </a:cxn>
              <a:cxn ang="0">
                <a:pos x="11" y="15"/>
              </a:cxn>
              <a:cxn ang="0">
                <a:pos x="13" y="8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80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5094288" y="2751138"/>
            <a:ext cx="6350" cy="57150"/>
          </a:xfrm>
          <a:custGeom>
            <a:avLst/>
            <a:gdLst/>
            <a:ahLst/>
            <a:cxnLst>
              <a:cxn ang="0">
                <a:pos x="6" y="36"/>
              </a:cxn>
              <a:cxn ang="0">
                <a:pos x="5" y="30"/>
              </a:cxn>
              <a:cxn ang="0">
                <a:pos x="3" y="20"/>
              </a:cxn>
              <a:cxn ang="0">
                <a:pos x="1" y="10"/>
              </a:cxn>
              <a:cxn ang="0">
                <a:pos x="0" y="0"/>
              </a:cxn>
              <a:cxn ang="0">
                <a:pos x="26" y="0"/>
              </a:cxn>
              <a:cxn ang="0">
                <a:pos x="25" y="12"/>
              </a:cxn>
              <a:cxn ang="0">
                <a:pos x="24" y="23"/>
              </a:cxn>
              <a:cxn ang="0">
                <a:pos x="23" y="27"/>
              </a:cxn>
              <a:cxn ang="0">
                <a:pos x="23" y="31"/>
              </a:cxn>
              <a:cxn ang="0">
                <a:pos x="24" y="34"/>
              </a:cxn>
              <a:cxn ang="0">
                <a:pos x="26" y="36"/>
              </a:cxn>
              <a:cxn ang="0">
                <a:pos x="6" y="36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81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6365876" y="2479675"/>
            <a:ext cx="174625" cy="158750"/>
          </a:xfrm>
          <a:custGeom>
            <a:avLst/>
            <a:gdLst/>
            <a:ahLst/>
            <a:cxnLst>
              <a:cxn ang="0">
                <a:pos x="26" y="162"/>
              </a:cxn>
              <a:cxn ang="0">
                <a:pos x="28" y="156"/>
              </a:cxn>
              <a:cxn ang="0">
                <a:pos x="30" y="154"/>
              </a:cxn>
              <a:cxn ang="0">
                <a:pos x="28" y="151"/>
              </a:cxn>
              <a:cxn ang="0">
                <a:pos x="18" y="143"/>
              </a:cxn>
              <a:cxn ang="0">
                <a:pos x="6" y="127"/>
              </a:cxn>
              <a:cxn ang="0">
                <a:pos x="2" y="116"/>
              </a:cxn>
              <a:cxn ang="0">
                <a:pos x="5" y="112"/>
              </a:cxn>
              <a:cxn ang="0">
                <a:pos x="6" y="104"/>
              </a:cxn>
              <a:cxn ang="0">
                <a:pos x="17" y="97"/>
              </a:cxn>
              <a:cxn ang="0">
                <a:pos x="34" y="93"/>
              </a:cxn>
              <a:cxn ang="0">
                <a:pos x="47" y="88"/>
              </a:cxn>
              <a:cxn ang="0">
                <a:pos x="57" y="82"/>
              </a:cxn>
              <a:cxn ang="0">
                <a:pos x="67" y="70"/>
              </a:cxn>
              <a:cxn ang="0">
                <a:pos x="75" y="52"/>
              </a:cxn>
              <a:cxn ang="0">
                <a:pos x="84" y="47"/>
              </a:cxn>
              <a:cxn ang="0">
                <a:pos x="95" y="52"/>
              </a:cxn>
              <a:cxn ang="0">
                <a:pos x="117" y="54"/>
              </a:cxn>
              <a:cxn ang="0">
                <a:pos x="169" y="46"/>
              </a:cxn>
              <a:cxn ang="0">
                <a:pos x="212" y="43"/>
              </a:cxn>
              <a:cxn ang="0">
                <a:pos x="234" y="41"/>
              </a:cxn>
              <a:cxn ang="0">
                <a:pos x="264" y="35"/>
              </a:cxn>
              <a:cxn ang="0">
                <a:pos x="318" y="17"/>
              </a:cxn>
              <a:cxn ang="0">
                <a:pos x="359" y="4"/>
              </a:cxn>
              <a:cxn ang="0">
                <a:pos x="372" y="3"/>
              </a:cxn>
              <a:cxn ang="0">
                <a:pos x="385" y="3"/>
              </a:cxn>
              <a:cxn ang="0">
                <a:pos x="398" y="1"/>
              </a:cxn>
              <a:cxn ang="0">
                <a:pos x="395" y="8"/>
              </a:cxn>
              <a:cxn ang="0">
                <a:pos x="360" y="41"/>
              </a:cxn>
              <a:cxn ang="0">
                <a:pos x="344" y="57"/>
              </a:cxn>
              <a:cxn ang="0">
                <a:pos x="339" y="64"/>
              </a:cxn>
              <a:cxn ang="0">
                <a:pos x="339" y="96"/>
              </a:cxn>
              <a:cxn ang="0">
                <a:pos x="337" y="149"/>
              </a:cxn>
              <a:cxn ang="0">
                <a:pos x="335" y="180"/>
              </a:cxn>
              <a:cxn ang="0">
                <a:pos x="326" y="198"/>
              </a:cxn>
              <a:cxn ang="0">
                <a:pos x="305" y="210"/>
              </a:cxn>
              <a:cxn ang="0">
                <a:pos x="265" y="227"/>
              </a:cxn>
              <a:cxn ang="0">
                <a:pos x="106" y="302"/>
              </a:cxn>
              <a:cxn ang="0">
                <a:pos x="57" y="260"/>
              </a:cxn>
              <a:cxn ang="0">
                <a:pos x="70" y="228"/>
              </a:cxn>
              <a:cxn ang="0">
                <a:pos x="81" y="209"/>
              </a:cxn>
              <a:cxn ang="0">
                <a:pos x="86" y="172"/>
              </a:cxn>
              <a:cxn ang="0">
                <a:pos x="71" y="173"/>
              </a:cxn>
              <a:cxn ang="0">
                <a:pos x="57" y="169"/>
              </a:cxn>
              <a:cxn ang="0">
                <a:pos x="41" y="165"/>
              </a:cxn>
              <a:cxn ang="0">
                <a:pos x="26" y="166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82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8459788" y="2860676"/>
            <a:ext cx="42862" cy="79375"/>
          </a:xfrm>
          <a:custGeom>
            <a:avLst/>
            <a:gdLst/>
            <a:ahLst/>
            <a:cxnLst>
              <a:cxn ang="0">
                <a:pos x="100" y="1"/>
              </a:cxn>
              <a:cxn ang="0">
                <a:pos x="100" y="30"/>
              </a:cxn>
              <a:cxn ang="0">
                <a:pos x="100" y="55"/>
              </a:cxn>
              <a:cxn ang="0">
                <a:pos x="100" y="78"/>
              </a:cxn>
              <a:cxn ang="0">
                <a:pos x="100" y="99"/>
              </a:cxn>
              <a:cxn ang="0">
                <a:pos x="98" y="109"/>
              </a:cxn>
              <a:cxn ang="0">
                <a:pos x="94" y="118"/>
              </a:cxn>
              <a:cxn ang="0">
                <a:pos x="89" y="128"/>
              </a:cxn>
              <a:cxn ang="0">
                <a:pos x="82" y="137"/>
              </a:cxn>
              <a:cxn ang="0">
                <a:pos x="73" y="144"/>
              </a:cxn>
              <a:cxn ang="0">
                <a:pos x="62" y="150"/>
              </a:cxn>
              <a:cxn ang="0">
                <a:pos x="57" y="152"/>
              </a:cxn>
              <a:cxn ang="0">
                <a:pos x="51" y="154"/>
              </a:cxn>
              <a:cxn ang="0">
                <a:pos x="46" y="155"/>
              </a:cxn>
              <a:cxn ang="0">
                <a:pos x="39" y="155"/>
              </a:cxn>
              <a:cxn ang="0">
                <a:pos x="35" y="154"/>
              </a:cxn>
              <a:cxn ang="0">
                <a:pos x="30" y="153"/>
              </a:cxn>
              <a:cxn ang="0">
                <a:pos x="26" y="151"/>
              </a:cxn>
              <a:cxn ang="0">
                <a:pos x="22" y="149"/>
              </a:cxn>
              <a:cxn ang="0">
                <a:pos x="15" y="142"/>
              </a:cxn>
              <a:cxn ang="0">
                <a:pos x="9" y="134"/>
              </a:cxn>
              <a:cxn ang="0">
                <a:pos x="5" y="124"/>
              </a:cxn>
              <a:cxn ang="0">
                <a:pos x="2" y="113"/>
              </a:cxn>
              <a:cxn ang="0">
                <a:pos x="0" y="103"/>
              </a:cxn>
              <a:cxn ang="0">
                <a:pos x="0" y="93"/>
              </a:cxn>
              <a:cxn ang="0">
                <a:pos x="0" y="77"/>
              </a:cxn>
              <a:cxn ang="0">
                <a:pos x="0" y="65"/>
              </a:cxn>
              <a:cxn ang="0">
                <a:pos x="0" y="56"/>
              </a:cxn>
              <a:cxn ang="0">
                <a:pos x="0" y="50"/>
              </a:cxn>
              <a:cxn ang="0">
                <a:pos x="15" y="50"/>
              </a:cxn>
              <a:cxn ang="0">
                <a:pos x="26" y="50"/>
              </a:cxn>
              <a:cxn ang="0">
                <a:pos x="26" y="40"/>
              </a:cxn>
              <a:cxn ang="0">
                <a:pos x="27" y="31"/>
              </a:cxn>
              <a:cxn ang="0">
                <a:pos x="29" y="23"/>
              </a:cxn>
              <a:cxn ang="0">
                <a:pos x="31" y="17"/>
              </a:cxn>
              <a:cxn ang="0">
                <a:pos x="35" y="12"/>
              </a:cxn>
              <a:cxn ang="0">
                <a:pos x="39" y="7"/>
              </a:cxn>
              <a:cxn ang="0">
                <a:pos x="42" y="4"/>
              </a:cxn>
              <a:cxn ang="0">
                <a:pos x="48" y="2"/>
              </a:cxn>
              <a:cxn ang="0">
                <a:pos x="59" y="0"/>
              </a:cxn>
              <a:cxn ang="0">
                <a:pos x="71" y="0"/>
              </a:cxn>
              <a:cxn ang="0">
                <a:pos x="84" y="0"/>
              </a:cxn>
              <a:cxn ang="0">
                <a:pos x="100" y="1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grpSp>
        <p:nvGrpSpPr>
          <p:cNvPr id="2583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6107113" y="2328863"/>
            <a:ext cx="482600" cy="201612"/>
            <a:chOff x="3289" y="1830"/>
            <a:chExt cx="363" cy="128"/>
          </a:xfrm>
        </p:grpSpPr>
        <p:sp>
          <p:nvSpPr>
            <p:cNvPr id="2584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2" y="1"/>
                </a:cxn>
                <a:cxn ang="0">
                  <a:pos x="9" y="3"/>
                </a:cxn>
                <a:cxn ang="0">
                  <a:pos x="4" y="5"/>
                </a:cxn>
                <a:cxn ang="0">
                  <a:pos x="0" y="7"/>
                </a:cxn>
                <a:cxn ang="0">
                  <a:pos x="7" y="3"/>
                </a:cxn>
                <a:cxn ang="0">
                  <a:pos x="13" y="0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585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5"/>
                </a:cxn>
                <a:cxn ang="0">
                  <a:pos x="15" y="3"/>
                </a:cxn>
                <a:cxn ang="0">
                  <a:pos x="25" y="1"/>
                </a:cxn>
                <a:cxn ang="0">
                  <a:pos x="34" y="0"/>
                </a:cxn>
                <a:cxn ang="0">
                  <a:pos x="31" y="2"/>
                </a:cxn>
                <a:cxn ang="0">
                  <a:pos x="27" y="4"/>
                </a:cxn>
                <a:cxn ang="0">
                  <a:pos x="22" y="6"/>
                </a:cxn>
                <a:cxn ang="0">
                  <a:pos x="18" y="7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0" y="6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586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0" y="0"/>
                </a:cxn>
                <a:cxn ang="0">
                  <a:pos x="13" y="12"/>
                </a:cxn>
                <a:cxn ang="0">
                  <a:pos x="0" y="24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587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0" y="27"/>
                </a:cxn>
                <a:cxn ang="0">
                  <a:pos x="0" y="45"/>
                </a:cxn>
                <a:cxn ang="0">
                  <a:pos x="0" y="62"/>
                </a:cxn>
                <a:cxn ang="0">
                  <a:pos x="0" y="69"/>
                </a:cxn>
                <a:cxn ang="0">
                  <a:pos x="16" y="66"/>
                </a:cxn>
                <a:cxn ang="0">
                  <a:pos x="49" y="58"/>
                </a:cxn>
                <a:cxn ang="0">
                  <a:pos x="85" y="50"/>
                </a:cxn>
                <a:cxn ang="0">
                  <a:pos x="107" y="44"/>
                </a:cxn>
                <a:cxn ang="0">
                  <a:pos x="101" y="38"/>
                </a:cxn>
                <a:cxn ang="0">
                  <a:pos x="94" y="34"/>
                </a:cxn>
                <a:cxn ang="0">
                  <a:pos x="86" y="30"/>
                </a:cxn>
                <a:cxn ang="0">
                  <a:pos x="78" y="27"/>
                </a:cxn>
                <a:cxn ang="0">
                  <a:pos x="72" y="23"/>
                </a:cxn>
                <a:cxn ang="0">
                  <a:pos x="65" y="18"/>
                </a:cxn>
                <a:cxn ang="0">
                  <a:pos x="63" y="15"/>
                </a:cxn>
                <a:cxn ang="0">
                  <a:pos x="62" y="11"/>
                </a:cxn>
                <a:cxn ang="0">
                  <a:pos x="61" y="7"/>
                </a:cxn>
                <a:cxn ang="0">
                  <a:pos x="61" y="0"/>
                </a:cxn>
                <a:cxn ang="0">
                  <a:pos x="54" y="1"/>
                </a:cxn>
                <a:cxn ang="0">
                  <a:pos x="38" y="4"/>
                </a:cxn>
                <a:cxn ang="0">
                  <a:pos x="18" y="9"/>
                </a:cxn>
                <a:cxn ang="0">
                  <a:pos x="0" y="13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  <p:sp>
          <p:nvSpPr>
            <p:cNvPr id="2588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/>
              <a:ahLst/>
              <a:cxnLst>
                <a:cxn ang="0">
                  <a:pos x="992" y="124"/>
                </a:cxn>
                <a:cxn ang="0">
                  <a:pos x="970" y="103"/>
                </a:cxn>
                <a:cxn ang="0">
                  <a:pos x="962" y="57"/>
                </a:cxn>
                <a:cxn ang="0">
                  <a:pos x="936" y="36"/>
                </a:cxn>
                <a:cxn ang="0">
                  <a:pos x="817" y="19"/>
                </a:cxn>
                <a:cxn ang="0">
                  <a:pos x="726" y="58"/>
                </a:cxn>
                <a:cxn ang="0">
                  <a:pos x="678" y="65"/>
                </a:cxn>
                <a:cxn ang="0">
                  <a:pos x="632" y="65"/>
                </a:cxn>
                <a:cxn ang="0">
                  <a:pos x="612" y="44"/>
                </a:cxn>
                <a:cxn ang="0">
                  <a:pos x="560" y="37"/>
                </a:cxn>
                <a:cxn ang="0">
                  <a:pos x="525" y="19"/>
                </a:cxn>
                <a:cxn ang="0">
                  <a:pos x="483" y="21"/>
                </a:cxn>
                <a:cxn ang="0">
                  <a:pos x="465" y="0"/>
                </a:cxn>
                <a:cxn ang="0">
                  <a:pos x="390" y="16"/>
                </a:cxn>
                <a:cxn ang="0">
                  <a:pos x="299" y="26"/>
                </a:cxn>
                <a:cxn ang="0">
                  <a:pos x="257" y="45"/>
                </a:cxn>
                <a:cxn ang="0">
                  <a:pos x="138" y="61"/>
                </a:cxn>
                <a:cxn ang="0">
                  <a:pos x="173" y="75"/>
                </a:cxn>
                <a:cxn ang="0">
                  <a:pos x="164" y="90"/>
                </a:cxn>
                <a:cxn ang="0">
                  <a:pos x="114" y="93"/>
                </a:cxn>
                <a:cxn ang="0">
                  <a:pos x="42" y="94"/>
                </a:cxn>
                <a:cxn ang="0">
                  <a:pos x="8" y="110"/>
                </a:cxn>
                <a:cxn ang="0">
                  <a:pos x="0" y="147"/>
                </a:cxn>
                <a:cxn ang="0">
                  <a:pos x="16" y="167"/>
                </a:cxn>
                <a:cxn ang="0">
                  <a:pos x="22" y="193"/>
                </a:cxn>
                <a:cxn ang="0">
                  <a:pos x="21" y="210"/>
                </a:cxn>
                <a:cxn ang="0">
                  <a:pos x="49" y="237"/>
                </a:cxn>
                <a:cxn ang="0">
                  <a:pos x="56" y="259"/>
                </a:cxn>
                <a:cxn ang="0">
                  <a:pos x="74" y="271"/>
                </a:cxn>
                <a:cxn ang="0">
                  <a:pos x="96" y="290"/>
                </a:cxn>
                <a:cxn ang="0">
                  <a:pos x="205" y="352"/>
                </a:cxn>
                <a:cxn ang="0">
                  <a:pos x="253" y="370"/>
                </a:cxn>
                <a:cxn ang="0">
                  <a:pos x="267" y="358"/>
                </a:cxn>
                <a:cxn ang="0">
                  <a:pos x="277" y="338"/>
                </a:cxn>
                <a:cxn ang="0">
                  <a:pos x="297" y="316"/>
                </a:cxn>
                <a:cxn ang="0">
                  <a:pos x="334" y="323"/>
                </a:cxn>
                <a:cxn ang="0">
                  <a:pos x="362" y="358"/>
                </a:cxn>
                <a:cxn ang="0">
                  <a:pos x="399" y="370"/>
                </a:cxn>
                <a:cxn ang="0">
                  <a:pos x="447" y="359"/>
                </a:cxn>
                <a:cxn ang="0">
                  <a:pos x="493" y="335"/>
                </a:cxn>
                <a:cxn ang="0">
                  <a:pos x="525" y="327"/>
                </a:cxn>
                <a:cxn ang="0">
                  <a:pos x="564" y="326"/>
                </a:cxn>
                <a:cxn ang="0">
                  <a:pos x="567" y="367"/>
                </a:cxn>
                <a:cxn ang="0">
                  <a:pos x="590" y="377"/>
                </a:cxn>
                <a:cxn ang="0">
                  <a:pos x="613" y="362"/>
                </a:cxn>
                <a:cxn ang="0">
                  <a:pos x="647" y="336"/>
                </a:cxn>
                <a:cxn ang="0">
                  <a:pos x="752" y="327"/>
                </a:cxn>
                <a:cxn ang="0">
                  <a:pos x="831" y="315"/>
                </a:cxn>
                <a:cxn ang="0">
                  <a:pos x="918" y="283"/>
                </a:cxn>
                <a:cxn ang="0">
                  <a:pos x="967" y="286"/>
                </a:cxn>
                <a:cxn ang="0">
                  <a:pos x="1005" y="293"/>
                </a:cxn>
                <a:cxn ang="0">
                  <a:pos x="1056" y="308"/>
                </a:cxn>
                <a:cxn ang="0">
                  <a:pos x="1056" y="268"/>
                </a:cxn>
                <a:cxn ang="0">
                  <a:pos x="1026" y="219"/>
                </a:cxn>
                <a:cxn ang="0">
                  <a:pos x="1017" y="167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2589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4095751" y="3481389"/>
            <a:ext cx="100013" cy="122237"/>
          </a:xfrm>
          <a:custGeom>
            <a:avLst/>
            <a:gdLst/>
            <a:ahLst/>
            <a:cxnLst>
              <a:cxn ang="0">
                <a:pos x="63" y="236"/>
              </a:cxn>
              <a:cxn ang="0">
                <a:pos x="68" y="237"/>
              </a:cxn>
              <a:cxn ang="0">
                <a:pos x="75" y="235"/>
              </a:cxn>
              <a:cxn ang="0">
                <a:pos x="83" y="234"/>
              </a:cxn>
              <a:cxn ang="0">
                <a:pos x="89" y="230"/>
              </a:cxn>
              <a:cxn ang="0">
                <a:pos x="96" y="223"/>
              </a:cxn>
              <a:cxn ang="0">
                <a:pos x="99" y="214"/>
              </a:cxn>
              <a:cxn ang="0">
                <a:pos x="123" y="209"/>
              </a:cxn>
              <a:cxn ang="0">
                <a:pos x="166" y="205"/>
              </a:cxn>
              <a:cxn ang="0">
                <a:pos x="195" y="198"/>
              </a:cxn>
              <a:cxn ang="0">
                <a:pos x="209" y="191"/>
              </a:cxn>
              <a:cxn ang="0">
                <a:pos x="220" y="181"/>
              </a:cxn>
              <a:cxn ang="0">
                <a:pos x="225" y="168"/>
              </a:cxn>
              <a:cxn ang="0">
                <a:pos x="226" y="153"/>
              </a:cxn>
              <a:cxn ang="0">
                <a:pos x="223" y="140"/>
              </a:cxn>
              <a:cxn ang="0">
                <a:pos x="215" y="123"/>
              </a:cxn>
              <a:cxn ang="0">
                <a:pos x="203" y="100"/>
              </a:cxn>
              <a:cxn ang="0">
                <a:pos x="196" y="84"/>
              </a:cxn>
              <a:cxn ang="0">
                <a:pos x="193" y="74"/>
              </a:cxn>
              <a:cxn ang="0">
                <a:pos x="195" y="59"/>
              </a:cxn>
              <a:cxn ang="0">
                <a:pos x="200" y="43"/>
              </a:cxn>
              <a:cxn ang="0">
                <a:pos x="213" y="25"/>
              </a:cxn>
              <a:cxn ang="0">
                <a:pos x="213" y="14"/>
              </a:cxn>
              <a:cxn ang="0">
                <a:pos x="191" y="7"/>
              </a:cxn>
              <a:cxn ang="0">
                <a:pos x="154" y="2"/>
              </a:cxn>
              <a:cxn ang="0">
                <a:pos x="20" y="6"/>
              </a:cxn>
              <a:cxn ang="0">
                <a:pos x="18" y="31"/>
              </a:cxn>
              <a:cxn ang="0">
                <a:pos x="10" y="54"/>
              </a:cxn>
              <a:cxn ang="0">
                <a:pos x="3" y="79"/>
              </a:cxn>
              <a:cxn ang="0">
                <a:pos x="0" y="111"/>
              </a:cxn>
              <a:cxn ang="0">
                <a:pos x="3" y="130"/>
              </a:cxn>
              <a:cxn ang="0">
                <a:pos x="10" y="146"/>
              </a:cxn>
              <a:cxn ang="0">
                <a:pos x="30" y="173"/>
              </a:cxn>
              <a:cxn ang="0">
                <a:pos x="51" y="199"/>
              </a:cxn>
              <a:cxn ang="0">
                <a:pos x="57" y="216"/>
              </a:cxn>
              <a:cxn ang="0">
                <a:pos x="61" y="234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90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8040688" y="2917825"/>
            <a:ext cx="207962" cy="458788"/>
          </a:xfrm>
          <a:custGeom>
            <a:avLst/>
            <a:gdLst/>
            <a:ahLst/>
            <a:cxnLst>
              <a:cxn ang="0">
                <a:pos x="287" y="109"/>
              </a:cxn>
              <a:cxn ang="0">
                <a:pos x="250" y="138"/>
              </a:cxn>
              <a:cxn ang="0">
                <a:pos x="199" y="197"/>
              </a:cxn>
              <a:cxn ang="0">
                <a:pos x="198" y="213"/>
              </a:cxn>
              <a:cxn ang="0">
                <a:pos x="206" y="239"/>
              </a:cxn>
              <a:cxn ang="0">
                <a:pos x="221" y="265"/>
              </a:cxn>
              <a:cxn ang="0">
                <a:pos x="240" y="288"/>
              </a:cxn>
              <a:cxn ang="0">
                <a:pos x="259" y="301"/>
              </a:cxn>
              <a:cxn ang="0">
                <a:pos x="279" y="329"/>
              </a:cxn>
              <a:cxn ang="0">
                <a:pos x="295" y="361"/>
              </a:cxn>
              <a:cxn ang="0">
                <a:pos x="305" y="369"/>
              </a:cxn>
              <a:cxn ang="0">
                <a:pos x="438" y="499"/>
              </a:cxn>
              <a:cxn ang="0">
                <a:pos x="471" y="589"/>
              </a:cxn>
              <a:cxn ang="0">
                <a:pos x="478" y="647"/>
              </a:cxn>
              <a:cxn ang="0">
                <a:pos x="476" y="687"/>
              </a:cxn>
              <a:cxn ang="0">
                <a:pos x="478" y="708"/>
              </a:cxn>
              <a:cxn ang="0">
                <a:pos x="447" y="718"/>
              </a:cxn>
              <a:cxn ang="0">
                <a:pos x="420" y="733"/>
              </a:cxn>
              <a:cxn ang="0">
                <a:pos x="391" y="756"/>
              </a:cxn>
              <a:cxn ang="0">
                <a:pos x="365" y="789"/>
              </a:cxn>
              <a:cxn ang="0">
                <a:pos x="348" y="785"/>
              </a:cxn>
              <a:cxn ang="0">
                <a:pos x="319" y="789"/>
              </a:cxn>
              <a:cxn ang="0">
                <a:pos x="313" y="804"/>
              </a:cxn>
              <a:cxn ang="0">
                <a:pos x="289" y="838"/>
              </a:cxn>
              <a:cxn ang="0">
                <a:pos x="256" y="868"/>
              </a:cxn>
              <a:cxn ang="0">
                <a:pos x="239" y="875"/>
              </a:cxn>
              <a:cxn ang="0">
                <a:pos x="232" y="868"/>
              </a:cxn>
              <a:cxn ang="0">
                <a:pos x="225" y="844"/>
              </a:cxn>
              <a:cxn ang="0">
                <a:pos x="231" y="800"/>
              </a:cxn>
              <a:cxn ang="0">
                <a:pos x="253" y="775"/>
              </a:cxn>
              <a:cxn ang="0">
                <a:pos x="277" y="760"/>
              </a:cxn>
              <a:cxn ang="0">
                <a:pos x="295" y="753"/>
              </a:cxn>
              <a:cxn ang="0">
                <a:pos x="305" y="743"/>
              </a:cxn>
              <a:cxn ang="0">
                <a:pos x="314" y="714"/>
              </a:cxn>
              <a:cxn ang="0">
                <a:pos x="330" y="686"/>
              </a:cxn>
              <a:cxn ang="0">
                <a:pos x="365" y="643"/>
              </a:cxn>
              <a:cxn ang="0">
                <a:pos x="371" y="536"/>
              </a:cxn>
              <a:cxn ang="0">
                <a:pos x="364" y="475"/>
              </a:cxn>
              <a:cxn ang="0">
                <a:pos x="341" y="427"/>
              </a:cxn>
              <a:cxn ang="0">
                <a:pos x="297" y="377"/>
              </a:cxn>
              <a:cxn ang="0">
                <a:pos x="219" y="308"/>
              </a:cxn>
              <a:cxn ang="0">
                <a:pos x="161" y="255"/>
              </a:cxn>
              <a:cxn ang="0">
                <a:pos x="108" y="198"/>
              </a:cxn>
              <a:cxn ang="0">
                <a:pos x="72" y="146"/>
              </a:cxn>
              <a:cxn ang="0">
                <a:pos x="42" y="104"/>
              </a:cxn>
              <a:cxn ang="0">
                <a:pos x="46" y="41"/>
              </a:cxn>
              <a:cxn ang="0">
                <a:pos x="129" y="19"/>
              </a:cxn>
              <a:cxn ang="0">
                <a:pos x="148" y="5"/>
              </a:cxn>
              <a:cxn ang="0">
                <a:pos x="175" y="16"/>
              </a:cxn>
              <a:cxn ang="0">
                <a:pos x="221" y="35"/>
              </a:cxn>
              <a:cxn ang="0">
                <a:pos x="269" y="67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91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8128000" y="3603625"/>
            <a:ext cx="25400" cy="57150"/>
          </a:xfrm>
          <a:custGeom>
            <a:avLst/>
            <a:gdLst/>
            <a:ahLst/>
            <a:cxnLst>
              <a:cxn ang="0">
                <a:pos x="59" y="6"/>
              </a:cxn>
              <a:cxn ang="0">
                <a:pos x="57" y="11"/>
              </a:cxn>
              <a:cxn ang="0">
                <a:pos x="53" y="15"/>
              </a:cxn>
              <a:cxn ang="0">
                <a:pos x="49" y="19"/>
              </a:cxn>
              <a:cxn ang="0">
                <a:pos x="45" y="24"/>
              </a:cxn>
              <a:cxn ang="0">
                <a:pos x="40" y="27"/>
              </a:cxn>
              <a:cxn ang="0">
                <a:pos x="36" y="29"/>
              </a:cxn>
              <a:cxn ang="0">
                <a:pos x="30" y="31"/>
              </a:cxn>
              <a:cxn ang="0">
                <a:pos x="26" y="31"/>
              </a:cxn>
              <a:cxn ang="0">
                <a:pos x="21" y="31"/>
              </a:cxn>
              <a:cxn ang="0">
                <a:pos x="17" y="30"/>
              </a:cxn>
              <a:cxn ang="0">
                <a:pos x="14" y="29"/>
              </a:cxn>
              <a:cxn ang="0">
                <a:pos x="11" y="27"/>
              </a:cxn>
              <a:cxn ang="0">
                <a:pos x="4" y="20"/>
              </a:cxn>
              <a:cxn ang="0">
                <a:pos x="0" y="12"/>
              </a:cxn>
              <a:cxn ang="0">
                <a:pos x="1" y="9"/>
              </a:cxn>
              <a:cxn ang="0">
                <a:pos x="3" y="6"/>
              </a:cxn>
              <a:cxn ang="0">
                <a:pos x="5" y="4"/>
              </a:cxn>
              <a:cxn ang="0">
                <a:pos x="8" y="3"/>
              </a:cxn>
              <a:cxn ang="0">
                <a:pos x="16" y="1"/>
              </a:cxn>
              <a:cxn ang="0">
                <a:pos x="24" y="0"/>
              </a:cxn>
              <a:cxn ang="0">
                <a:pos x="34" y="0"/>
              </a:cxn>
              <a:cxn ang="0">
                <a:pos x="42" y="2"/>
              </a:cxn>
              <a:cxn ang="0">
                <a:pos x="51" y="4"/>
              </a:cxn>
              <a:cxn ang="0">
                <a:pos x="59" y="6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92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6819901" y="2862263"/>
            <a:ext cx="174625" cy="271462"/>
          </a:xfrm>
          <a:custGeom>
            <a:avLst/>
            <a:gdLst/>
            <a:ahLst/>
            <a:cxnLst>
              <a:cxn ang="0">
                <a:pos x="200" y="8"/>
              </a:cxn>
              <a:cxn ang="0">
                <a:pos x="202" y="22"/>
              </a:cxn>
              <a:cxn ang="0">
                <a:pos x="208" y="36"/>
              </a:cxn>
              <a:cxn ang="0">
                <a:pos x="214" y="49"/>
              </a:cxn>
              <a:cxn ang="0">
                <a:pos x="224" y="63"/>
              </a:cxn>
              <a:cxn ang="0">
                <a:pos x="235" y="75"/>
              </a:cxn>
              <a:cxn ang="0">
                <a:pos x="249" y="86"/>
              </a:cxn>
              <a:cxn ang="0">
                <a:pos x="264" y="95"/>
              </a:cxn>
              <a:cxn ang="0">
                <a:pos x="316" y="106"/>
              </a:cxn>
              <a:cxn ang="0">
                <a:pos x="365" y="119"/>
              </a:cxn>
              <a:cxn ang="0">
                <a:pos x="380" y="127"/>
              </a:cxn>
              <a:cxn ang="0">
                <a:pos x="392" y="137"/>
              </a:cxn>
              <a:cxn ang="0">
                <a:pos x="398" y="151"/>
              </a:cxn>
              <a:cxn ang="0">
                <a:pos x="398" y="174"/>
              </a:cxn>
              <a:cxn ang="0">
                <a:pos x="390" y="200"/>
              </a:cxn>
              <a:cxn ang="0">
                <a:pos x="369" y="239"/>
              </a:cxn>
              <a:cxn ang="0">
                <a:pos x="344" y="276"/>
              </a:cxn>
              <a:cxn ang="0">
                <a:pos x="328" y="303"/>
              </a:cxn>
              <a:cxn ang="0">
                <a:pos x="314" y="330"/>
              </a:cxn>
              <a:cxn ang="0">
                <a:pos x="307" y="360"/>
              </a:cxn>
              <a:cxn ang="0">
                <a:pos x="297" y="377"/>
              </a:cxn>
              <a:cxn ang="0">
                <a:pos x="268" y="387"/>
              </a:cxn>
              <a:cxn ang="0">
                <a:pos x="246" y="399"/>
              </a:cxn>
              <a:cxn ang="0">
                <a:pos x="235" y="408"/>
              </a:cxn>
              <a:cxn ang="0">
                <a:pos x="227" y="417"/>
              </a:cxn>
              <a:cxn ang="0">
                <a:pos x="224" y="427"/>
              </a:cxn>
              <a:cxn ang="0">
                <a:pos x="213" y="438"/>
              </a:cxn>
              <a:cxn ang="0">
                <a:pos x="188" y="450"/>
              </a:cxn>
              <a:cxn ang="0">
                <a:pos x="173" y="456"/>
              </a:cxn>
              <a:cxn ang="0">
                <a:pos x="166" y="467"/>
              </a:cxn>
              <a:cxn ang="0">
                <a:pos x="158" y="481"/>
              </a:cxn>
              <a:cxn ang="0">
                <a:pos x="146" y="490"/>
              </a:cxn>
              <a:cxn ang="0">
                <a:pos x="131" y="494"/>
              </a:cxn>
              <a:cxn ang="0">
                <a:pos x="102" y="498"/>
              </a:cxn>
              <a:cxn ang="0">
                <a:pos x="73" y="504"/>
              </a:cxn>
              <a:cxn ang="0">
                <a:pos x="55" y="512"/>
              </a:cxn>
              <a:cxn ang="0">
                <a:pos x="46" y="514"/>
              </a:cxn>
              <a:cxn ang="0">
                <a:pos x="43" y="506"/>
              </a:cxn>
              <a:cxn ang="0">
                <a:pos x="38" y="497"/>
              </a:cxn>
              <a:cxn ang="0">
                <a:pos x="34" y="487"/>
              </a:cxn>
              <a:cxn ang="0">
                <a:pos x="33" y="468"/>
              </a:cxn>
              <a:cxn ang="0">
                <a:pos x="29" y="445"/>
              </a:cxn>
              <a:cxn ang="0">
                <a:pos x="17" y="418"/>
              </a:cxn>
              <a:cxn ang="0">
                <a:pos x="0" y="358"/>
              </a:cxn>
              <a:cxn ang="0">
                <a:pos x="194" y="185"/>
              </a:cxn>
              <a:cxn ang="0">
                <a:pos x="200" y="0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93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5546725" y="2916238"/>
            <a:ext cx="376238" cy="385762"/>
          </a:xfrm>
          <a:custGeom>
            <a:avLst/>
            <a:gdLst/>
            <a:ahLst/>
            <a:cxnLst>
              <a:cxn ang="0">
                <a:pos x="231" y="270"/>
              </a:cxn>
              <a:cxn ang="0">
                <a:pos x="245" y="264"/>
              </a:cxn>
              <a:cxn ang="0">
                <a:pos x="272" y="272"/>
              </a:cxn>
              <a:cxn ang="0">
                <a:pos x="654" y="1"/>
              </a:cxn>
              <a:cxn ang="0">
                <a:pos x="679" y="6"/>
              </a:cxn>
              <a:cxn ang="0">
                <a:pos x="711" y="21"/>
              </a:cxn>
              <a:cxn ang="0">
                <a:pos x="730" y="35"/>
              </a:cxn>
              <a:cxn ang="0">
                <a:pos x="760" y="57"/>
              </a:cxn>
              <a:cxn ang="0">
                <a:pos x="791" y="59"/>
              </a:cxn>
              <a:cxn ang="0">
                <a:pos x="831" y="43"/>
              </a:cxn>
              <a:cxn ang="0">
                <a:pos x="854" y="166"/>
              </a:cxn>
              <a:cxn ang="0">
                <a:pos x="866" y="205"/>
              </a:cxn>
              <a:cxn ang="0">
                <a:pos x="850" y="301"/>
              </a:cxn>
              <a:cxn ang="0">
                <a:pos x="848" y="376"/>
              </a:cxn>
              <a:cxn ang="0">
                <a:pos x="834" y="421"/>
              </a:cxn>
              <a:cxn ang="0">
                <a:pos x="802" y="467"/>
              </a:cxn>
              <a:cxn ang="0">
                <a:pos x="777" y="499"/>
              </a:cxn>
              <a:cxn ang="0">
                <a:pos x="758" y="567"/>
              </a:cxn>
              <a:cxn ang="0">
                <a:pos x="711" y="629"/>
              </a:cxn>
              <a:cxn ang="0">
                <a:pos x="680" y="646"/>
              </a:cxn>
              <a:cxn ang="0">
                <a:pos x="644" y="638"/>
              </a:cxn>
              <a:cxn ang="0">
                <a:pos x="611" y="625"/>
              </a:cxn>
              <a:cxn ang="0">
                <a:pos x="566" y="633"/>
              </a:cxn>
              <a:cxn ang="0">
                <a:pos x="530" y="659"/>
              </a:cxn>
              <a:cxn ang="0">
                <a:pos x="511" y="680"/>
              </a:cxn>
              <a:cxn ang="0">
                <a:pos x="491" y="684"/>
              </a:cxn>
              <a:cxn ang="0">
                <a:pos x="470" y="668"/>
              </a:cxn>
              <a:cxn ang="0">
                <a:pos x="446" y="639"/>
              </a:cxn>
              <a:cxn ang="0">
                <a:pos x="421" y="635"/>
              </a:cxn>
              <a:cxn ang="0">
                <a:pos x="405" y="647"/>
              </a:cxn>
              <a:cxn ang="0">
                <a:pos x="384" y="652"/>
              </a:cxn>
              <a:cxn ang="0">
                <a:pos x="350" y="638"/>
              </a:cxn>
              <a:cxn ang="0">
                <a:pos x="306" y="608"/>
              </a:cxn>
              <a:cxn ang="0">
                <a:pos x="271" y="604"/>
              </a:cxn>
              <a:cxn ang="0">
                <a:pos x="237" y="620"/>
              </a:cxn>
              <a:cxn ang="0">
                <a:pos x="209" y="653"/>
              </a:cxn>
              <a:cxn ang="0">
                <a:pos x="190" y="692"/>
              </a:cxn>
              <a:cxn ang="0">
                <a:pos x="178" y="719"/>
              </a:cxn>
              <a:cxn ang="0">
                <a:pos x="149" y="702"/>
              </a:cxn>
              <a:cxn ang="0">
                <a:pos x="100" y="740"/>
              </a:cxn>
              <a:cxn ang="0">
                <a:pos x="66" y="699"/>
              </a:cxn>
              <a:cxn ang="0">
                <a:pos x="64" y="644"/>
              </a:cxn>
              <a:cxn ang="0">
                <a:pos x="50" y="613"/>
              </a:cxn>
              <a:cxn ang="0">
                <a:pos x="20" y="587"/>
              </a:cxn>
              <a:cxn ang="0">
                <a:pos x="5" y="558"/>
              </a:cxn>
              <a:cxn ang="0">
                <a:pos x="53" y="530"/>
              </a:cxn>
              <a:cxn ang="0">
                <a:pos x="76" y="518"/>
              </a:cxn>
              <a:cxn ang="0">
                <a:pos x="139" y="510"/>
              </a:cxn>
              <a:cxn ang="0">
                <a:pos x="182" y="500"/>
              </a:cxn>
              <a:cxn ang="0">
                <a:pos x="201" y="475"/>
              </a:cxn>
              <a:cxn ang="0">
                <a:pos x="219" y="424"/>
              </a:cxn>
              <a:cxn ang="0">
                <a:pos x="224" y="367"/>
              </a:cxn>
              <a:cxn ang="0">
                <a:pos x="219" y="320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hu-HU"/>
          </a:p>
        </p:txBody>
      </p:sp>
      <p:sp>
        <p:nvSpPr>
          <p:cNvPr id="2594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5216525" y="2533650"/>
            <a:ext cx="300038" cy="260350"/>
          </a:xfrm>
          <a:custGeom>
            <a:avLst/>
            <a:gdLst/>
            <a:ahLst/>
            <a:cxnLst>
              <a:cxn ang="0">
                <a:pos x="648" y="53"/>
              </a:cxn>
              <a:cxn ang="0">
                <a:pos x="657" y="161"/>
              </a:cxn>
              <a:cxn ang="0">
                <a:pos x="661" y="167"/>
              </a:cxn>
              <a:cxn ang="0">
                <a:pos x="677" y="177"/>
              </a:cxn>
              <a:cxn ang="0">
                <a:pos x="694" y="189"/>
              </a:cxn>
              <a:cxn ang="0">
                <a:pos x="697" y="198"/>
              </a:cxn>
              <a:cxn ang="0">
                <a:pos x="694" y="211"/>
              </a:cxn>
              <a:cxn ang="0">
                <a:pos x="685" y="217"/>
              </a:cxn>
              <a:cxn ang="0">
                <a:pos x="655" y="218"/>
              </a:cxn>
              <a:cxn ang="0">
                <a:pos x="605" y="228"/>
              </a:cxn>
              <a:cxn ang="0">
                <a:pos x="567" y="250"/>
              </a:cxn>
              <a:cxn ang="0">
                <a:pos x="549" y="267"/>
              </a:cxn>
              <a:cxn ang="0">
                <a:pos x="539" y="288"/>
              </a:cxn>
              <a:cxn ang="0">
                <a:pos x="521" y="302"/>
              </a:cxn>
              <a:cxn ang="0">
                <a:pos x="491" y="324"/>
              </a:cxn>
              <a:cxn ang="0">
                <a:pos x="455" y="352"/>
              </a:cxn>
              <a:cxn ang="0">
                <a:pos x="420" y="370"/>
              </a:cxn>
              <a:cxn ang="0">
                <a:pos x="372" y="377"/>
              </a:cxn>
              <a:cxn ang="0">
                <a:pos x="344" y="380"/>
              </a:cxn>
              <a:cxn ang="0">
                <a:pos x="316" y="396"/>
              </a:cxn>
              <a:cxn ang="0">
                <a:pos x="290" y="417"/>
              </a:cxn>
              <a:cxn ang="0">
                <a:pos x="265" y="426"/>
              </a:cxn>
              <a:cxn ang="0">
                <a:pos x="5" y="496"/>
              </a:cxn>
              <a:cxn ang="0">
                <a:pos x="32" y="487"/>
              </a:cxn>
              <a:cxn ang="0">
                <a:pos x="85" y="473"/>
              </a:cxn>
              <a:cxn ang="0">
                <a:pos x="93" y="459"/>
              </a:cxn>
              <a:cxn ang="0">
                <a:pos x="99" y="438"/>
              </a:cxn>
              <a:cxn ang="0">
                <a:pos x="119" y="422"/>
              </a:cxn>
              <a:cxn ang="0">
                <a:pos x="160" y="399"/>
              </a:cxn>
              <a:cxn ang="0">
                <a:pos x="181" y="382"/>
              </a:cxn>
              <a:cxn ang="0">
                <a:pos x="192" y="357"/>
              </a:cxn>
              <a:cxn ang="0">
                <a:pos x="193" y="316"/>
              </a:cxn>
              <a:cxn ang="0">
                <a:pos x="195" y="254"/>
              </a:cxn>
              <a:cxn ang="0">
                <a:pos x="192" y="192"/>
              </a:cxn>
              <a:cxn ang="0">
                <a:pos x="214" y="189"/>
              </a:cxn>
              <a:cxn ang="0">
                <a:pos x="228" y="179"/>
              </a:cxn>
              <a:cxn ang="0">
                <a:pos x="241" y="165"/>
              </a:cxn>
              <a:cxn ang="0">
                <a:pos x="252" y="152"/>
              </a:cxn>
              <a:cxn ang="0">
                <a:pos x="281" y="146"/>
              </a:cxn>
              <a:cxn ang="0">
                <a:pos x="314" y="143"/>
              </a:cxn>
              <a:cxn ang="0">
                <a:pos x="340" y="131"/>
              </a:cxn>
              <a:cxn ang="0">
                <a:pos x="360" y="108"/>
              </a:cxn>
              <a:cxn ang="0">
                <a:pos x="388" y="48"/>
              </a:cxn>
              <a:cxn ang="0">
                <a:pos x="407" y="12"/>
              </a:cxn>
              <a:cxn ang="0">
                <a:pos x="426" y="8"/>
              </a:cxn>
              <a:cxn ang="0">
                <a:pos x="449" y="20"/>
              </a:cxn>
              <a:cxn ang="0">
                <a:pos x="512" y="18"/>
              </a:cxn>
              <a:cxn ang="0">
                <a:pos x="590" y="13"/>
              </a:cxn>
              <a:cxn ang="0">
                <a:pos x="597" y="17"/>
              </a:cxn>
              <a:cxn ang="0">
                <a:pos x="605" y="36"/>
              </a:cxn>
              <a:cxn ang="0">
                <a:pos x="611" y="51"/>
              </a:cxn>
              <a:cxn ang="0">
                <a:pos x="618" y="50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95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5916614" y="1463676"/>
            <a:ext cx="236537" cy="92075"/>
          </a:xfrm>
          <a:custGeom>
            <a:avLst/>
            <a:gdLst/>
            <a:ahLst/>
            <a:cxnLst>
              <a:cxn ang="0">
                <a:pos x="74" y="19"/>
              </a:cxn>
              <a:cxn ang="0">
                <a:pos x="94" y="34"/>
              </a:cxn>
              <a:cxn ang="0">
                <a:pos x="110" y="27"/>
              </a:cxn>
              <a:cxn ang="0">
                <a:pos x="132" y="27"/>
              </a:cxn>
              <a:cxn ang="0">
                <a:pos x="161" y="44"/>
              </a:cxn>
              <a:cxn ang="0">
                <a:pos x="209" y="19"/>
              </a:cxn>
              <a:cxn ang="0">
                <a:pos x="243" y="19"/>
              </a:cxn>
              <a:cxn ang="0">
                <a:pos x="260" y="16"/>
              </a:cxn>
              <a:cxn ang="0">
                <a:pos x="269" y="14"/>
              </a:cxn>
              <a:cxn ang="0">
                <a:pos x="279" y="11"/>
              </a:cxn>
              <a:cxn ang="0">
                <a:pos x="286" y="3"/>
              </a:cxn>
              <a:cxn ang="0">
                <a:pos x="321" y="5"/>
              </a:cxn>
              <a:cxn ang="0">
                <a:pos x="333" y="12"/>
              </a:cxn>
              <a:cxn ang="0">
                <a:pos x="348" y="7"/>
              </a:cxn>
              <a:cxn ang="0">
                <a:pos x="353" y="0"/>
              </a:cxn>
              <a:cxn ang="0">
                <a:pos x="367" y="7"/>
              </a:cxn>
              <a:cxn ang="0">
                <a:pos x="389" y="7"/>
              </a:cxn>
              <a:cxn ang="0">
                <a:pos x="436" y="1"/>
              </a:cxn>
              <a:cxn ang="0">
                <a:pos x="482" y="6"/>
              </a:cxn>
              <a:cxn ang="0">
                <a:pos x="528" y="12"/>
              </a:cxn>
              <a:cxn ang="0">
                <a:pos x="545" y="49"/>
              </a:cxn>
              <a:cxn ang="0">
                <a:pos x="537" y="60"/>
              </a:cxn>
              <a:cxn ang="0">
                <a:pos x="513" y="62"/>
              </a:cxn>
              <a:cxn ang="0">
                <a:pos x="483" y="54"/>
              </a:cxn>
              <a:cxn ang="0">
                <a:pos x="413" y="44"/>
              </a:cxn>
              <a:cxn ang="0">
                <a:pos x="438" y="81"/>
              </a:cxn>
              <a:cxn ang="0">
                <a:pos x="471" y="102"/>
              </a:cxn>
              <a:cxn ang="0">
                <a:pos x="493" y="119"/>
              </a:cxn>
              <a:cxn ang="0">
                <a:pos x="475" y="136"/>
              </a:cxn>
              <a:cxn ang="0">
                <a:pos x="449" y="142"/>
              </a:cxn>
              <a:cxn ang="0">
                <a:pos x="426" y="141"/>
              </a:cxn>
              <a:cxn ang="0">
                <a:pos x="412" y="134"/>
              </a:cxn>
              <a:cxn ang="0">
                <a:pos x="399" y="130"/>
              </a:cxn>
              <a:cxn ang="0">
                <a:pos x="385" y="121"/>
              </a:cxn>
              <a:cxn ang="0">
                <a:pos x="375" y="104"/>
              </a:cxn>
              <a:cxn ang="0">
                <a:pos x="365" y="92"/>
              </a:cxn>
              <a:cxn ang="0">
                <a:pos x="344" y="84"/>
              </a:cxn>
              <a:cxn ang="0">
                <a:pos x="325" y="76"/>
              </a:cxn>
              <a:cxn ang="0">
                <a:pos x="303" y="87"/>
              </a:cxn>
              <a:cxn ang="0">
                <a:pos x="258" y="134"/>
              </a:cxn>
              <a:cxn ang="0">
                <a:pos x="236" y="163"/>
              </a:cxn>
              <a:cxn ang="0">
                <a:pos x="220" y="172"/>
              </a:cxn>
              <a:cxn ang="0">
                <a:pos x="188" y="167"/>
              </a:cxn>
              <a:cxn ang="0">
                <a:pos x="165" y="155"/>
              </a:cxn>
              <a:cxn ang="0">
                <a:pos x="113" y="105"/>
              </a:cxn>
              <a:cxn ang="0">
                <a:pos x="95" y="91"/>
              </a:cxn>
              <a:cxn ang="0">
                <a:pos x="60" y="76"/>
              </a:cxn>
              <a:cxn ang="0">
                <a:pos x="16" y="58"/>
              </a:cxn>
              <a:cxn ang="0">
                <a:pos x="11" y="34"/>
              </a:cxn>
              <a:cxn ang="0">
                <a:pos x="28" y="19"/>
              </a:cxn>
              <a:cxn ang="0">
                <a:pos x="47" y="12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96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6427788" y="1447801"/>
            <a:ext cx="107950" cy="60325"/>
          </a:xfrm>
          <a:custGeom>
            <a:avLst/>
            <a:gdLst/>
            <a:ahLst/>
            <a:cxnLst>
              <a:cxn ang="0">
                <a:pos x="27" y="36"/>
              </a:cxn>
              <a:cxn ang="0">
                <a:pos x="36" y="36"/>
              </a:cxn>
              <a:cxn ang="0">
                <a:pos x="45" y="35"/>
              </a:cxn>
              <a:cxn ang="0">
                <a:pos x="53" y="33"/>
              </a:cxn>
              <a:cxn ang="0">
                <a:pos x="59" y="31"/>
              </a:cxn>
              <a:cxn ang="0">
                <a:pos x="66" y="30"/>
              </a:cxn>
              <a:cxn ang="0">
                <a:pos x="72" y="29"/>
              </a:cxn>
              <a:cxn ang="0">
                <a:pos x="80" y="29"/>
              </a:cxn>
              <a:cxn ang="0">
                <a:pos x="87" y="30"/>
              </a:cxn>
              <a:cxn ang="0">
                <a:pos x="87" y="42"/>
              </a:cxn>
              <a:cxn ang="0">
                <a:pos x="154" y="42"/>
              </a:cxn>
              <a:cxn ang="0">
                <a:pos x="154" y="39"/>
              </a:cxn>
              <a:cxn ang="0">
                <a:pos x="156" y="36"/>
              </a:cxn>
              <a:cxn ang="0">
                <a:pos x="159" y="33"/>
              </a:cxn>
              <a:cxn ang="0">
                <a:pos x="163" y="31"/>
              </a:cxn>
              <a:cxn ang="0">
                <a:pos x="175" y="26"/>
              </a:cxn>
              <a:cxn ang="0">
                <a:pos x="190" y="23"/>
              </a:cxn>
              <a:cxn ang="0">
                <a:pos x="221" y="17"/>
              </a:cxn>
              <a:cxn ang="0">
                <a:pos x="246" y="12"/>
              </a:cxn>
              <a:cxn ang="0">
                <a:pos x="212" y="13"/>
              </a:cxn>
              <a:cxn ang="0">
                <a:pos x="186" y="14"/>
              </a:cxn>
              <a:cxn ang="0">
                <a:pos x="178" y="15"/>
              </a:cxn>
              <a:cxn ang="0">
                <a:pos x="171" y="15"/>
              </a:cxn>
              <a:cxn ang="0">
                <a:pos x="168" y="14"/>
              </a:cxn>
              <a:cxn ang="0">
                <a:pos x="167" y="12"/>
              </a:cxn>
              <a:cxn ang="0">
                <a:pos x="159" y="16"/>
              </a:cxn>
              <a:cxn ang="0">
                <a:pos x="152" y="17"/>
              </a:cxn>
              <a:cxn ang="0">
                <a:pos x="147" y="17"/>
              </a:cxn>
              <a:cxn ang="0">
                <a:pos x="141" y="15"/>
              </a:cxn>
              <a:cxn ang="0">
                <a:pos x="137" y="12"/>
              </a:cxn>
              <a:cxn ang="0">
                <a:pos x="133" y="9"/>
              </a:cxn>
              <a:cxn ang="0">
                <a:pos x="129" y="5"/>
              </a:cxn>
              <a:cxn ang="0">
                <a:pos x="126" y="0"/>
              </a:cxn>
              <a:cxn ang="0">
                <a:pos x="121" y="2"/>
              </a:cxn>
              <a:cxn ang="0">
                <a:pos x="113" y="4"/>
              </a:cxn>
              <a:cxn ang="0">
                <a:pos x="103" y="5"/>
              </a:cxn>
              <a:cxn ang="0">
                <a:pos x="93" y="5"/>
              </a:cxn>
              <a:cxn ang="0">
                <a:pos x="74" y="6"/>
              </a:cxn>
              <a:cxn ang="0">
                <a:pos x="60" y="6"/>
              </a:cxn>
              <a:cxn ang="0">
                <a:pos x="58" y="9"/>
              </a:cxn>
              <a:cxn ang="0">
                <a:pos x="56" y="12"/>
              </a:cxn>
              <a:cxn ang="0">
                <a:pos x="54" y="15"/>
              </a:cxn>
              <a:cxn ang="0">
                <a:pos x="50" y="17"/>
              </a:cxn>
              <a:cxn ang="0">
                <a:pos x="42" y="20"/>
              </a:cxn>
              <a:cxn ang="0">
                <a:pos x="33" y="22"/>
              </a:cxn>
              <a:cxn ang="0">
                <a:pos x="14" y="24"/>
              </a:cxn>
              <a:cxn ang="0">
                <a:pos x="0" y="24"/>
              </a:cxn>
              <a:cxn ang="0">
                <a:pos x="1" y="27"/>
              </a:cxn>
              <a:cxn ang="0">
                <a:pos x="3" y="29"/>
              </a:cxn>
              <a:cxn ang="0">
                <a:pos x="5" y="31"/>
              </a:cxn>
              <a:cxn ang="0">
                <a:pos x="9" y="33"/>
              </a:cxn>
              <a:cxn ang="0">
                <a:pos x="17" y="35"/>
              </a:cxn>
              <a:cxn ang="0">
                <a:pos x="27" y="36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97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6570663" y="1430338"/>
            <a:ext cx="63500" cy="57150"/>
          </a:xfrm>
          <a:custGeom>
            <a:avLst/>
            <a:gdLst/>
            <a:ahLst/>
            <a:cxnLst>
              <a:cxn ang="0">
                <a:pos x="103" y="0"/>
              </a:cxn>
              <a:cxn ang="0">
                <a:pos x="118" y="1"/>
              </a:cxn>
              <a:cxn ang="0">
                <a:pos x="134" y="3"/>
              </a:cxn>
              <a:cxn ang="0">
                <a:pos x="145" y="5"/>
              </a:cxn>
              <a:cxn ang="0">
                <a:pos x="149" y="6"/>
              </a:cxn>
              <a:cxn ang="0">
                <a:pos x="149" y="8"/>
              </a:cxn>
              <a:cxn ang="0">
                <a:pos x="147" y="10"/>
              </a:cxn>
              <a:cxn ang="0">
                <a:pos x="145" y="12"/>
              </a:cxn>
              <a:cxn ang="0">
                <a:pos x="141" y="13"/>
              </a:cxn>
              <a:cxn ang="0">
                <a:pos x="137" y="14"/>
              </a:cxn>
              <a:cxn ang="0">
                <a:pos x="132" y="14"/>
              </a:cxn>
              <a:cxn ang="0">
                <a:pos x="127" y="14"/>
              </a:cxn>
              <a:cxn ang="0">
                <a:pos x="123" y="12"/>
              </a:cxn>
              <a:cxn ang="0">
                <a:pos x="123" y="23"/>
              </a:cxn>
              <a:cxn ang="0">
                <a:pos x="123" y="33"/>
              </a:cxn>
              <a:cxn ang="0">
                <a:pos x="123" y="41"/>
              </a:cxn>
              <a:cxn ang="0">
                <a:pos x="123" y="49"/>
              </a:cxn>
              <a:cxn ang="0">
                <a:pos x="116" y="50"/>
              </a:cxn>
              <a:cxn ang="0">
                <a:pos x="109" y="51"/>
              </a:cxn>
              <a:cxn ang="0">
                <a:pos x="104" y="53"/>
              </a:cxn>
              <a:cxn ang="0">
                <a:pos x="100" y="55"/>
              </a:cxn>
              <a:cxn ang="0">
                <a:pos x="94" y="57"/>
              </a:cxn>
              <a:cxn ang="0">
                <a:pos x="89" y="59"/>
              </a:cxn>
              <a:cxn ang="0">
                <a:pos x="83" y="61"/>
              </a:cxn>
              <a:cxn ang="0">
                <a:pos x="76" y="61"/>
              </a:cxn>
              <a:cxn ang="0">
                <a:pos x="67" y="60"/>
              </a:cxn>
              <a:cxn ang="0">
                <a:pos x="53" y="57"/>
              </a:cxn>
              <a:cxn ang="0">
                <a:pos x="39" y="54"/>
              </a:cxn>
              <a:cxn ang="0">
                <a:pos x="25" y="49"/>
              </a:cxn>
              <a:cxn ang="0">
                <a:pos x="12" y="45"/>
              </a:cxn>
              <a:cxn ang="0">
                <a:pos x="3" y="41"/>
              </a:cxn>
              <a:cxn ang="0">
                <a:pos x="1" y="39"/>
              </a:cxn>
              <a:cxn ang="0">
                <a:pos x="0" y="38"/>
              </a:cxn>
              <a:cxn ang="0">
                <a:pos x="0" y="37"/>
              </a:cxn>
              <a:cxn ang="0">
                <a:pos x="3" y="37"/>
              </a:cxn>
              <a:cxn ang="0">
                <a:pos x="19" y="36"/>
              </a:cxn>
              <a:cxn ang="0">
                <a:pos x="35" y="35"/>
              </a:cxn>
              <a:cxn ang="0">
                <a:pos x="48" y="32"/>
              </a:cxn>
              <a:cxn ang="0">
                <a:pos x="60" y="27"/>
              </a:cxn>
              <a:cxn ang="0">
                <a:pos x="72" y="22"/>
              </a:cxn>
              <a:cxn ang="0">
                <a:pos x="82" y="16"/>
              </a:cxn>
              <a:cxn ang="0">
                <a:pos x="93" y="8"/>
              </a:cxn>
              <a:cxn ang="0">
                <a:pos x="103" y="0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98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6607176" y="1438275"/>
            <a:ext cx="130175" cy="57150"/>
          </a:xfrm>
          <a:custGeom>
            <a:avLst/>
            <a:gdLst/>
            <a:ahLst/>
            <a:cxnLst>
              <a:cxn ang="0">
                <a:pos x="133" y="72"/>
              </a:cxn>
              <a:cxn ang="0">
                <a:pos x="154" y="65"/>
              </a:cxn>
              <a:cxn ang="0">
                <a:pos x="178" y="54"/>
              </a:cxn>
              <a:cxn ang="0">
                <a:pos x="199" y="42"/>
              </a:cxn>
              <a:cxn ang="0">
                <a:pos x="207" y="40"/>
              </a:cxn>
              <a:cxn ang="0">
                <a:pos x="211" y="46"/>
              </a:cxn>
              <a:cxn ang="0">
                <a:pos x="220" y="51"/>
              </a:cxn>
              <a:cxn ang="0">
                <a:pos x="243" y="55"/>
              </a:cxn>
              <a:cxn ang="0">
                <a:pos x="269" y="55"/>
              </a:cxn>
              <a:cxn ang="0">
                <a:pos x="286" y="55"/>
              </a:cxn>
              <a:cxn ang="0">
                <a:pos x="293" y="46"/>
              </a:cxn>
              <a:cxn ang="0">
                <a:pos x="298" y="31"/>
              </a:cxn>
              <a:cxn ang="0">
                <a:pos x="279" y="25"/>
              </a:cxn>
              <a:cxn ang="0">
                <a:pos x="244" y="25"/>
              </a:cxn>
              <a:cxn ang="0">
                <a:pos x="225" y="25"/>
              </a:cxn>
              <a:cxn ang="0">
                <a:pos x="214" y="27"/>
              </a:cxn>
              <a:cxn ang="0">
                <a:pos x="204" y="33"/>
              </a:cxn>
              <a:cxn ang="0">
                <a:pos x="172" y="37"/>
              </a:cxn>
              <a:cxn ang="0">
                <a:pos x="176" y="28"/>
              </a:cxn>
              <a:cxn ang="0">
                <a:pos x="180" y="21"/>
              </a:cxn>
              <a:cxn ang="0">
                <a:pos x="194" y="13"/>
              </a:cxn>
              <a:cxn ang="0">
                <a:pos x="210" y="9"/>
              </a:cxn>
              <a:cxn ang="0">
                <a:pos x="225" y="0"/>
              </a:cxn>
              <a:cxn ang="0">
                <a:pos x="185" y="3"/>
              </a:cxn>
              <a:cxn ang="0">
                <a:pos x="157" y="11"/>
              </a:cxn>
              <a:cxn ang="0">
                <a:pos x="134" y="25"/>
              </a:cxn>
              <a:cxn ang="0">
                <a:pos x="114" y="40"/>
              </a:cxn>
              <a:cxn ang="0">
                <a:pos x="100" y="53"/>
              </a:cxn>
              <a:cxn ang="0">
                <a:pos x="87" y="59"/>
              </a:cxn>
              <a:cxn ang="0">
                <a:pos x="64" y="63"/>
              </a:cxn>
              <a:cxn ang="0">
                <a:pos x="32" y="64"/>
              </a:cxn>
              <a:cxn ang="0">
                <a:pos x="12" y="67"/>
              </a:cxn>
              <a:cxn ang="0">
                <a:pos x="2" y="70"/>
              </a:cxn>
              <a:cxn ang="0">
                <a:pos x="39" y="74"/>
              </a:cxn>
              <a:cxn ang="0">
                <a:pos x="102" y="74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886280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65</TotalTime>
  <Words>859</Words>
  <Application>Microsoft Macintosh PowerPoint</Application>
  <PresentationFormat>Widescreen</PresentationFormat>
  <Paragraphs>132</Paragraphs>
  <Slides>31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5" baseType="lpstr">
      <vt:lpstr>Arial</vt:lpstr>
      <vt:lpstr>Calibri</vt:lpstr>
      <vt:lpstr>Calibri Light</vt:lpstr>
      <vt:lpstr>Office Theme</vt:lpstr>
      <vt:lpstr>PowerPoint Presentation</vt:lpstr>
      <vt:lpstr>PowerPoint Presentation</vt:lpstr>
      <vt:lpstr>PowerPoint Presentation</vt:lpstr>
      <vt:lpstr>I. El Proyecto CORE</vt:lpstr>
      <vt:lpstr>Objetivos en el nivel nacional</vt:lpstr>
      <vt:lpstr>Objetivos en el nivel global</vt:lpstr>
      <vt:lpstr>PowerPoint Presentation</vt:lpstr>
      <vt:lpstr>PowerPoint Presentation</vt:lpstr>
      <vt:lpstr>PowerPoint Presentation</vt:lpstr>
      <vt:lpstr>PowerPoint Presentation</vt:lpstr>
      <vt:lpstr>Los países en que analizamos el razonamiento constitucional de las CCs </vt:lpstr>
      <vt:lpstr>Preguntas de la investigación</vt:lpstr>
      <vt:lpstr>Metodología mixto: Datos ➕ Doctrina</vt:lpstr>
      <vt:lpstr>PowerPoint Presentation</vt:lpstr>
      <vt:lpstr>II. La Corte Constitucional anterior del Ecuador</vt:lpstr>
      <vt:lpstr>Experiencias del nivel global</vt:lpstr>
      <vt:lpstr>Cómo se ve esto en Ecuador?</vt:lpstr>
      <vt:lpstr>Pseudo-argumentos</vt:lpstr>
      <vt:lpstr>Cómo medir pseudo-argumentos? </vt:lpstr>
      <vt:lpstr>Calidad de las decisiones de la CC anterior</vt:lpstr>
      <vt:lpstr>Precedentes</vt:lpstr>
      <vt:lpstr>PowerPoint Presentation</vt:lpstr>
      <vt:lpstr>Conceptos</vt:lpstr>
      <vt:lpstr>Interpretación teleológica</vt:lpstr>
      <vt:lpstr>Resultado de los casos</vt:lpstr>
      <vt:lpstr>PowerPoint Presentation</vt:lpstr>
      <vt:lpstr>PowerPoint Presentation</vt:lpstr>
      <vt:lpstr>Conclusiones generales sobre Ecuador</vt:lpstr>
      <vt:lpstr>III. Las Dilemas sobre América Latina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rohlijoh@gmail.com</dc:creator>
  <cp:lastModifiedBy>frohlijoh@gmail.com</cp:lastModifiedBy>
  <cp:revision>19</cp:revision>
  <dcterms:created xsi:type="dcterms:W3CDTF">2019-06-27T14:46:01Z</dcterms:created>
  <dcterms:modified xsi:type="dcterms:W3CDTF">2019-06-28T16:51:07Z</dcterms:modified>
</cp:coreProperties>
</file>